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80" r:id="rId6"/>
  </p:sldMasterIdLst>
  <p:sldIdLst>
    <p:sldId id="9779" r:id="rId7"/>
    <p:sldId id="9653" r:id="rId8"/>
    <p:sldId id="9781" r:id="rId9"/>
    <p:sldId id="9782" r:id="rId10"/>
    <p:sldId id="9783" r:id="rId11"/>
    <p:sldId id="9784" r:id="rId12"/>
    <p:sldId id="9786" r:id="rId13"/>
    <p:sldId id="9785" r:id="rId14"/>
    <p:sldId id="9788" r:id="rId15"/>
    <p:sldId id="9787" r:id="rId16"/>
    <p:sldId id="9789" r:id="rId17"/>
    <p:sldId id="9791" r:id="rId18"/>
    <p:sldId id="9792" r:id="rId19"/>
    <p:sldId id="9793" r:id="rId20"/>
    <p:sldId id="9794" r:id="rId21"/>
    <p:sldId id="9795" r:id="rId22"/>
    <p:sldId id="9796" r:id="rId23"/>
    <p:sldId id="9797" r:id="rId24"/>
    <p:sldId id="9798" r:id="rId25"/>
    <p:sldId id="9799" r:id="rId26"/>
    <p:sldId id="9800" r:id="rId27"/>
    <p:sldId id="9801" r:id="rId28"/>
    <p:sldId id="9802" r:id="rId29"/>
    <p:sldId id="9803" r:id="rId30"/>
    <p:sldId id="9805" r:id="rId31"/>
    <p:sldId id="9804" r:id="rId32"/>
    <p:sldId id="328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ED77F39-DFA9-400F-B0AA-40035E701B5B}" v="162" dt="2021-09-06T07:57:50.8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10" Type="http://schemas.openxmlformats.org/officeDocument/2006/relationships/image" Target="../media/image1.png"/><Relationship Id="rId4" Type="http://schemas.openxmlformats.org/officeDocument/2006/relationships/tags" Target="../tags/tag11.xml"/><Relationship Id="rId9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20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6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auto">
          <a:xfrm>
            <a:off x="239185" y="579438"/>
            <a:ext cx="11713633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</p:cxnSp>
      <p:pic>
        <p:nvPicPr>
          <p:cNvPr id="6" name="Picture 6" descr="PrasaMetro1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oup 8"/>
          <p:cNvGrpSpPr>
            <a:grpSpLocks/>
          </p:cNvGrpSpPr>
          <p:nvPr userDrawn="1"/>
        </p:nvGrpSpPr>
        <p:grpSpPr bwMode="auto">
          <a:xfrm>
            <a:off x="0" y="1"/>
            <a:ext cx="12192000" cy="1857375"/>
            <a:chOff x="0" y="0"/>
            <a:chExt cx="9144000" cy="1857364"/>
          </a:xfrm>
        </p:grpSpPr>
        <p:sp>
          <p:nvSpPr>
            <p:cNvPr id="8" name="Rectangle 7"/>
            <p:cNvSpPr/>
            <p:nvPr/>
          </p:nvSpPr>
          <p:spPr>
            <a:xfrm>
              <a:off x="7215188" y="0"/>
              <a:ext cx="1928812" cy="18573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0" y="0"/>
              <a:ext cx="1928813" cy="18573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/>
            </a:p>
          </p:txBody>
        </p:sp>
      </p:grpSp>
      <p:sp>
        <p:nvSpPr>
          <p:cNvPr id="10" name="Rectangle 9"/>
          <p:cNvSpPr/>
          <p:nvPr userDrawn="1"/>
        </p:nvSpPr>
        <p:spPr>
          <a:xfrm>
            <a:off x="10668000" y="6500814"/>
            <a:ext cx="1524000" cy="35718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3"/>
          <p:cNvSpPr/>
          <p:nvPr userDrawn="1"/>
        </p:nvSpPr>
        <p:spPr>
          <a:xfrm>
            <a:off x="0" y="1"/>
            <a:ext cx="12192000" cy="1857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sz="1800"/>
          </a:p>
        </p:txBody>
      </p:sp>
      <p:pic>
        <p:nvPicPr>
          <p:cNvPr id="12" name="Picture 3" descr="NewPRASAslide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-26988"/>
            <a:ext cx="12240684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 userDrawn="1"/>
        </p:nvSpPr>
        <p:spPr>
          <a:xfrm>
            <a:off x="4762500" y="5033964"/>
            <a:ext cx="3524251" cy="714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sz="1800"/>
          </a:p>
        </p:txBody>
      </p:sp>
      <p:sp>
        <p:nvSpPr>
          <p:cNvPr id="14" name="Rectangle 13"/>
          <p:cNvSpPr/>
          <p:nvPr userDrawn="1"/>
        </p:nvSpPr>
        <p:spPr>
          <a:xfrm>
            <a:off x="8286751" y="4857751"/>
            <a:ext cx="1333500" cy="714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9127067" y="5026026"/>
            <a:ext cx="1333500" cy="168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9429751" y="4643439"/>
            <a:ext cx="1333500" cy="428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9B79A23-292E-4B72-B283-2FE83ED6CA2D}" type="datetime1">
              <a:rPr lang="en-US"/>
              <a:pPr>
                <a:defRPr/>
              </a:pPr>
              <a:t>9/7/2021</a:t>
            </a:fld>
            <a:endParaRPr lang="en-US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18492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FDF4EE-0BE8-49EB-BD2A-EE7039F29CB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85947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3DEDF-AB84-49EE-B9AC-A006B64B3F3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676601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8B91E-BDF6-41B6-9989-F1929749731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929781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1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597665-2BE3-4945-9051-4077D8B1FA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82836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350A8-C4B4-45AC-9F84-8D0EDB9EA5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8478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E1DDDF-4832-4C5C-BC0E-BCFDA495A1E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434660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467"/>
          <a:stretch>
            <a:fillRect/>
          </a:stretch>
        </p:blipFill>
        <p:spPr bwMode="auto">
          <a:xfrm>
            <a:off x="0" y="1265239"/>
            <a:ext cx="12192000" cy="360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8362A-B820-4870-98E2-B3F50A14200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825543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C857752-C01B-40F6-9549-5C570D17A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464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22F6A8-9457-45C2-A8E4-AB6D522B16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066" y="151668"/>
            <a:ext cx="9694532" cy="692395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1065" y="1253331"/>
            <a:ext cx="5416011" cy="464337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83425" y="1261879"/>
            <a:ext cx="5416011" cy="463482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61A7054-1C3C-614D-BAE0-56F68E3C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7B14DDB-EF8D-9C43-927F-4CCC7C5F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4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96C5189-4E83-A542-9149-9225E4DA5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4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075853D1-5CFB-2446-B34F-1653B2ACCD4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79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C857752-C01B-40F6-9549-5C570D17A9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905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4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16664"/>
            <a:ext cx="12192000" cy="54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>
            <a:off x="239185" y="579438"/>
            <a:ext cx="11713633" cy="0"/>
          </a:xfrm>
          <a:prstGeom prst="line">
            <a:avLst/>
          </a:prstGeom>
          <a:noFill/>
          <a:ln w="25400">
            <a:solidFill>
              <a:srgbClr val="00B7E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>
            <a:lvl1pPr algn="l">
              <a:defRPr lang="en-ZA"/>
            </a:lvl1pPr>
          </a:lstStyle>
          <a:p>
            <a:pPr lvl="0"/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B255116-640A-41A0-9ED6-A5E25C45F44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8668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0D3AF4-FB26-43A4-8FF9-754B16D1CF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641" y="126512"/>
            <a:ext cx="9882101" cy="670658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641" y="1127187"/>
            <a:ext cx="11483654" cy="509264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094F28-68E3-894A-9AB2-4408AD6FBC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44853-A390-2A4A-8366-F8FCAAC6A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94CB3-C2F8-5245-89BA-72E9FA407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49C63827-2A32-4843-ACE4-83FD88C8086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1779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2A4F06E-79A7-42C9-BD80-FFF90AB27C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7" y="1709744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7" y="458947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8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863B4E-68F5-534B-947F-14034BBB7A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3B296-AE3E-3646-A36F-7BD92C23BE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87C34-61A6-A544-A7F6-0500F7337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E3B18310-EBC1-E349-8540-9A70EC14AB3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1776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22F6A8-9457-45C2-A8E4-AB6D522B16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069" y="151670"/>
            <a:ext cx="9694532" cy="692395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1068" y="1253331"/>
            <a:ext cx="5416011" cy="464337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83426" y="1261883"/>
            <a:ext cx="5416011" cy="463482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61A7054-1C3C-614D-BAE0-56F68E3C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7B14DDB-EF8D-9C43-927F-4CCC7C5F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96C5189-4E83-A542-9149-9225E4DA5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075853D1-5CFB-2446-B34F-1653B2ACCD4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6877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122F6A8-9457-45C2-A8E4-AB6D522B16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069" y="151670"/>
            <a:ext cx="9694532" cy="692395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9267" y="1365476"/>
            <a:ext cx="11044535" cy="217566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267" y="3936068"/>
            <a:ext cx="11044535" cy="220594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61A7054-1C3C-614D-BAE0-56F68E3C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7B14DDB-EF8D-9C43-927F-4CCC7C5F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96C5189-4E83-A542-9149-9225E4DA5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075853D1-5CFB-2446-B34F-1653B2ACCD4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8750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2FB654F-64BA-4BFC-96DF-2622D80F1C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513" y="177804"/>
            <a:ext cx="9577516" cy="654537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1513" y="1167182"/>
            <a:ext cx="5349991" cy="513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93" indent="0">
              <a:buNone/>
              <a:defRPr sz="2000" b="1"/>
            </a:lvl2pPr>
            <a:lvl3pPr marL="914385" indent="0">
              <a:buNone/>
              <a:defRPr sz="1800" b="1"/>
            </a:lvl3pPr>
            <a:lvl4pPr marL="1371576" indent="0">
              <a:buNone/>
              <a:defRPr sz="1600" b="1"/>
            </a:lvl4pPr>
            <a:lvl5pPr marL="1828769" indent="0">
              <a:buNone/>
              <a:defRPr sz="1600" b="1"/>
            </a:lvl5pPr>
            <a:lvl6pPr marL="2285961" indent="0">
              <a:buNone/>
              <a:defRPr sz="1600" b="1"/>
            </a:lvl6pPr>
            <a:lvl7pPr marL="2743154" indent="0">
              <a:buNone/>
              <a:defRPr sz="1600" b="1"/>
            </a:lvl7pPr>
            <a:lvl8pPr marL="3200346" indent="0">
              <a:buNone/>
              <a:defRPr sz="1600" b="1"/>
            </a:lvl8pPr>
            <a:lvl9pPr marL="3657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1514" y="1847853"/>
            <a:ext cx="5349993" cy="434181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0" y="1167182"/>
            <a:ext cx="5183188" cy="513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93" indent="0">
              <a:buNone/>
              <a:defRPr sz="2000" b="1"/>
            </a:lvl2pPr>
            <a:lvl3pPr marL="914385" indent="0">
              <a:buNone/>
              <a:defRPr sz="1800" b="1"/>
            </a:lvl3pPr>
            <a:lvl4pPr marL="1371576" indent="0">
              <a:buNone/>
              <a:defRPr sz="1600" b="1"/>
            </a:lvl4pPr>
            <a:lvl5pPr marL="1828769" indent="0">
              <a:buNone/>
              <a:defRPr sz="1600" b="1"/>
            </a:lvl5pPr>
            <a:lvl6pPr marL="2285961" indent="0">
              <a:buNone/>
              <a:defRPr sz="1600" b="1"/>
            </a:lvl6pPr>
            <a:lvl7pPr marL="2743154" indent="0">
              <a:buNone/>
              <a:defRPr sz="1600" b="1"/>
            </a:lvl7pPr>
            <a:lvl8pPr marL="3200346" indent="0">
              <a:buNone/>
              <a:defRPr sz="1600" b="1"/>
            </a:lvl8pPr>
            <a:lvl9pPr marL="365753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1847853"/>
            <a:ext cx="5349991" cy="434181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D54058B-4413-B740-9A1E-0B309E56BD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199" y="63701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309C3F2-F8F2-D242-A384-DDBF463FB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8429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30E6BC-F510-C243-9CBB-D4E3BB222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pPr lvl="1" algn="r">
              <a:defRPr/>
            </a:pPr>
            <a:fld id="{B8E97AC0-2BB7-6B4B-ACA6-1E71C09ED1D0}" type="slidenum">
              <a:rPr lang="en-US" smtClean="0"/>
              <a:pPr lvl="1"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2616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2FB654F-64BA-4BFC-96DF-2622D80F1C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513" y="177804"/>
            <a:ext cx="9577516" cy="654537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1514" y="1182735"/>
            <a:ext cx="3616789" cy="513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93" indent="0">
              <a:buNone/>
              <a:defRPr sz="2000" b="1"/>
            </a:lvl2pPr>
            <a:lvl3pPr marL="914385" indent="0">
              <a:buNone/>
              <a:defRPr sz="1800" b="1"/>
            </a:lvl3pPr>
            <a:lvl4pPr marL="1371576" indent="0">
              <a:buNone/>
              <a:defRPr sz="1600" b="1"/>
            </a:lvl4pPr>
            <a:lvl5pPr marL="1828769" indent="0">
              <a:buNone/>
              <a:defRPr sz="1600" b="1"/>
            </a:lvl5pPr>
            <a:lvl6pPr marL="2285961" indent="0">
              <a:buNone/>
              <a:defRPr sz="1600" b="1"/>
            </a:lvl6pPr>
            <a:lvl7pPr marL="2743154" indent="0">
              <a:buNone/>
              <a:defRPr sz="1600" b="1"/>
            </a:lvl7pPr>
            <a:lvl8pPr marL="3200346" indent="0">
              <a:buNone/>
              <a:defRPr sz="1600" b="1"/>
            </a:lvl8pPr>
            <a:lvl9pPr marL="365753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1511" y="1847853"/>
            <a:ext cx="3614875" cy="434181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97412" y="1182735"/>
            <a:ext cx="3614875" cy="513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93" indent="0">
              <a:buNone/>
              <a:defRPr sz="2000" b="1"/>
            </a:lvl2pPr>
            <a:lvl3pPr marL="914385" indent="0">
              <a:buNone/>
              <a:defRPr sz="1800" b="1"/>
            </a:lvl3pPr>
            <a:lvl4pPr marL="1371576" indent="0">
              <a:buNone/>
              <a:defRPr sz="1600" b="1"/>
            </a:lvl4pPr>
            <a:lvl5pPr marL="1828769" indent="0">
              <a:buNone/>
              <a:defRPr sz="1600" b="1"/>
            </a:lvl5pPr>
            <a:lvl6pPr marL="2285961" indent="0">
              <a:buNone/>
              <a:defRPr sz="1600" b="1"/>
            </a:lvl6pPr>
            <a:lvl7pPr marL="2743154" indent="0">
              <a:buNone/>
              <a:defRPr sz="1600" b="1"/>
            </a:lvl7pPr>
            <a:lvl8pPr marL="3200346" indent="0">
              <a:buNone/>
              <a:defRPr sz="1600" b="1"/>
            </a:lvl8pPr>
            <a:lvl9pPr marL="365753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297412" y="1841664"/>
            <a:ext cx="3614875" cy="434181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D54058B-4413-B740-9A1E-0B309E56BD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199" y="63701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309C3F2-F8F2-D242-A384-DDBF463FB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8429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30E6BC-F510-C243-9CBB-D4E3BB222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pPr lvl="1" algn="r">
              <a:defRPr/>
            </a:pPr>
            <a:fld id="{B8E97AC0-2BB7-6B4B-ACA6-1E71C09ED1D0}" type="slidenum">
              <a:rPr lang="en-US" smtClean="0"/>
              <a:pPr lvl="1" algn="r">
                <a:defRPr/>
              </a:pPr>
              <a:t>‹#›</a:t>
            </a:fld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1B566D3-7A06-4481-9BB8-D6EE67DC91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01398" y="1182735"/>
            <a:ext cx="3611604" cy="51398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93" indent="0">
              <a:buNone/>
              <a:defRPr sz="2000" b="1"/>
            </a:lvl2pPr>
            <a:lvl3pPr marL="914385" indent="0">
              <a:buNone/>
              <a:defRPr sz="1800" b="1"/>
            </a:lvl3pPr>
            <a:lvl4pPr marL="1371576" indent="0">
              <a:buNone/>
              <a:defRPr sz="1600" b="1"/>
            </a:lvl4pPr>
            <a:lvl5pPr marL="1828769" indent="0">
              <a:buNone/>
              <a:defRPr sz="1600" b="1"/>
            </a:lvl5pPr>
            <a:lvl6pPr marL="2285961" indent="0">
              <a:buNone/>
              <a:defRPr sz="1600" b="1"/>
            </a:lvl6pPr>
            <a:lvl7pPr marL="2743154" indent="0">
              <a:buNone/>
              <a:defRPr sz="1600" b="1"/>
            </a:lvl7pPr>
            <a:lvl8pPr marL="3200346" indent="0">
              <a:buNone/>
              <a:defRPr sz="1600" b="1"/>
            </a:lvl8pPr>
            <a:lvl9pPr marL="365753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70918B79-AD0D-48C7-8654-0A6F0805761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01398" y="1841664"/>
            <a:ext cx="3614875" cy="434181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/>
            </a:lvl1pPr>
            <a:lvl2pPr>
              <a:spcBef>
                <a:spcPts val="0"/>
              </a:spcBef>
              <a:defRPr sz="18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82031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5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19AFAFA-6109-2244-8389-9EE29BEBB0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78E5C29-5066-B940-BE62-8E00BC7D8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50A6194-0545-D943-9627-3ED84F9EE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35E436-B54F-5046-B1B6-C5798747710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874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28085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3" y="987432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93" indent="0">
              <a:buNone/>
              <a:defRPr sz="1400"/>
            </a:lvl2pPr>
            <a:lvl3pPr marL="914385" indent="0">
              <a:buNone/>
              <a:defRPr sz="1200"/>
            </a:lvl3pPr>
            <a:lvl4pPr marL="1371576" indent="0">
              <a:buNone/>
              <a:defRPr sz="1000"/>
            </a:lvl4pPr>
            <a:lvl5pPr marL="1828769" indent="0">
              <a:buNone/>
              <a:defRPr sz="1000"/>
            </a:lvl5pPr>
            <a:lvl6pPr marL="2285961" indent="0">
              <a:buNone/>
              <a:defRPr sz="1000"/>
            </a:lvl6pPr>
            <a:lvl7pPr marL="2743154" indent="0">
              <a:buNone/>
              <a:defRPr sz="1000"/>
            </a:lvl7pPr>
            <a:lvl8pPr marL="3200346" indent="0">
              <a:buNone/>
              <a:defRPr sz="1000"/>
            </a:lvl8pPr>
            <a:lvl9pPr marL="365753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67911B0-4AAC-9F47-A176-D32C11F31B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4880F33-D048-3E48-B4D5-5EF0AA93D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2CB8616-279D-AC41-AD63-FFA4C4DE2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F284C17-EC36-9744-B138-69E2F62A3F4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1826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93" y="987432"/>
            <a:ext cx="6172201" cy="487362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3" indent="0">
              <a:buNone/>
              <a:defRPr sz="2800"/>
            </a:lvl2pPr>
            <a:lvl3pPr marL="914385" indent="0">
              <a:buNone/>
              <a:defRPr sz="2400"/>
            </a:lvl3pPr>
            <a:lvl4pPr marL="1371576" indent="0">
              <a:buNone/>
              <a:defRPr sz="2000"/>
            </a:lvl4pPr>
            <a:lvl5pPr marL="1828769" indent="0">
              <a:buNone/>
              <a:defRPr sz="2000"/>
            </a:lvl5pPr>
            <a:lvl6pPr marL="2285961" indent="0">
              <a:buNone/>
              <a:defRPr sz="2000"/>
            </a:lvl6pPr>
            <a:lvl7pPr marL="2743154" indent="0">
              <a:buNone/>
              <a:defRPr sz="2000"/>
            </a:lvl7pPr>
            <a:lvl8pPr marL="3200346" indent="0">
              <a:buNone/>
              <a:defRPr sz="2000"/>
            </a:lvl8pPr>
            <a:lvl9pPr marL="3657538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93" indent="0">
              <a:buNone/>
              <a:defRPr sz="1400"/>
            </a:lvl2pPr>
            <a:lvl3pPr marL="914385" indent="0">
              <a:buNone/>
              <a:defRPr sz="1200"/>
            </a:lvl3pPr>
            <a:lvl4pPr marL="1371576" indent="0">
              <a:buNone/>
              <a:defRPr sz="1000"/>
            </a:lvl4pPr>
            <a:lvl5pPr marL="1828769" indent="0">
              <a:buNone/>
              <a:defRPr sz="1000"/>
            </a:lvl5pPr>
            <a:lvl6pPr marL="2285961" indent="0">
              <a:buNone/>
              <a:defRPr sz="1000"/>
            </a:lvl6pPr>
            <a:lvl7pPr marL="2743154" indent="0">
              <a:buNone/>
              <a:defRPr sz="1000"/>
            </a:lvl7pPr>
            <a:lvl8pPr marL="3200346" indent="0">
              <a:buNone/>
              <a:defRPr sz="1000"/>
            </a:lvl8pPr>
            <a:lvl9pPr marL="365753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36EBC1D-B589-6D42-841C-A1F42D5F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DC5B8DB-6BAA-A14C-9E32-EFCFCD411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590863B-5078-9D4E-93F4-194A500AA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36FFD7E5-9B52-4143-A293-871BDE10994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017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00D3AF4-FB26-43A4-8FF9-754B16D1CF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640" y="126512"/>
            <a:ext cx="9882101" cy="670658"/>
          </a:xfrm>
          <a:prstGeom prst="rect">
            <a:avLst/>
          </a:prstGeom>
        </p:spPr>
        <p:txBody>
          <a:bodyPr/>
          <a:lstStyle>
            <a:lvl1pPr>
              <a:defRPr sz="2585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641" y="1127187"/>
            <a:ext cx="11483655" cy="509264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46"/>
            </a:lvl1pPr>
            <a:lvl2pPr>
              <a:spcBef>
                <a:spcPts val="0"/>
              </a:spcBef>
              <a:defRPr sz="1662"/>
            </a:lvl2pPr>
            <a:lvl3pPr>
              <a:spcBef>
                <a:spcPts val="0"/>
              </a:spcBef>
              <a:defRPr sz="1477"/>
            </a:lvl3pPr>
            <a:lvl4pPr>
              <a:spcBef>
                <a:spcPts val="0"/>
              </a:spcBef>
              <a:defRPr sz="1292"/>
            </a:lvl4pPr>
            <a:lvl5pPr>
              <a:spcBef>
                <a:spcPts val="0"/>
              </a:spcBef>
              <a:defRPr sz="1292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094F28-68E3-894A-9AB2-4408AD6FBC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92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44853-A390-2A4A-8366-F8FCAAC6A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3" y="6356359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92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94CB3-C2F8-5245-89BA-72E9FA407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9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92"/>
            </a:lvl1pPr>
          </a:lstStyle>
          <a:p>
            <a:pPr>
              <a:defRPr/>
            </a:pPr>
            <a:fld id="{49C63827-2A32-4843-ACE4-83FD88C8086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5545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5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5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F90D6C-DDC0-0847-9EB8-1F8361D99E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8F4599-6139-0645-96E0-6B8072072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2" y="6356358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DD55E1-0D03-B741-B167-0A5CBDEFC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356358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7F15D-BD5B-FD44-A21B-658ED5D7A2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7629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856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ABEA0578-C791-4AC8-A10C-A2329A94C5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7">
            <a:extLst>
              <a:ext uri="{FF2B5EF4-FFF2-40B4-BE49-F238E27FC236}">
                <a16:creationId xmlns:a16="http://schemas.microsoft.com/office/drawing/2014/main" id="{F3A090F4-10D4-4233-B6BD-C8CA28D51B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467"/>
          <a:stretch>
            <a:fillRect/>
          </a:stretch>
        </p:blipFill>
        <p:spPr bwMode="auto">
          <a:xfrm>
            <a:off x="0" y="1265239"/>
            <a:ext cx="12192000" cy="360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38A7EF-B03D-4851-8053-AD3D86497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AA411E-17D3-4C8D-BACD-C6E8C442C1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A915BB-C667-49EF-ABD5-253789ECD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75077D-B6BD-4247-A80C-9EF71FC4798F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249026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RASA CRES- white-01.png" descr="/Users/leruosandamela/Desktop/VERSION 2/POWERPOINT/PRASA CRES- white-01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11200" y="304800"/>
            <a:ext cx="1828800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Content Placeholder 6" descr="1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190460" y="5643578"/>
            <a:ext cx="1904971" cy="1071546"/>
          </a:xfrm>
          <a:prstGeom prst="rect">
            <a:avLst/>
          </a:prstGeom>
        </p:spPr>
      </p:pic>
      <p:pic>
        <p:nvPicPr>
          <p:cNvPr id="6" name="Content Placeholder 6" descr="CAPE TOWN STATION.tif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>
          <a:xfrm>
            <a:off x="2000220" y="5643578"/>
            <a:ext cx="2292593" cy="1071570"/>
          </a:xfrm>
          <a:prstGeom prst="rect">
            <a:avLst/>
          </a:prstGeom>
        </p:spPr>
      </p:pic>
      <p:pic>
        <p:nvPicPr>
          <p:cNvPr id="7" name="Content Placeholder 8" descr="VP-2011-04-20-8782.jp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4286237" y="5643578"/>
            <a:ext cx="2152025" cy="1071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Content Placeholder 8" descr="Untitled_Panorama1.jp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6381753" y="5643578"/>
            <a:ext cx="5238785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88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6">
            <a:extLst>
              <a:ext uri="{FF2B5EF4-FFF2-40B4-BE49-F238E27FC236}">
                <a16:creationId xmlns:a16="http://schemas.microsoft.com/office/drawing/2014/main" id="{593528D2-6E5F-43AD-96AA-3F55DE80212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71451" y="149226"/>
            <a:ext cx="11849100" cy="384175"/>
            <a:chOff x="128384" y="149915"/>
            <a:chExt cx="8887231" cy="384016"/>
          </a:xfrm>
        </p:grpSpPr>
        <p:pic>
          <p:nvPicPr>
            <p:cNvPr id="6" name="Picture 7" descr="PowerPoint_blueheader-07.png">
              <a:extLst>
                <a:ext uri="{FF2B5EF4-FFF2-40B4-BE49-F238E27FC236}">
                  <a16:creationId xmlns:a16="http://schemas.microsoft.com/office/drawing/2014/main" id="{F817A804-34F7-4A1B-86E8-0CD6F40396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323"/>
            <a:stretch>
              <a:fillRect/>
            </a:stretch>
          </p:blipFill>
          <p:spPr bwMode="auto">
            <a:xfrm>
              <a:off x="128384" y="149915"/>
              <a:ext cx="2548716" cy="384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8" descr="PowerPoint_blueheader-07.png">
              <a:extLst>
                <a:ext uri="{FF2B5EF4-FFF2-40B4-BE49-F238E27FC236}">
                  <a16:creationId xmlns:a16="http://schemas.microsoft.com/office/drawing/2014/main" id="{29A05DAE-4ACB-480A-AF64-71083C5E75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312"/>
            <a:stretch>
              <a:fillRect/>
            </a:stretch>
          </p:blipFill>
          <p:spPr bwMode="auto">
            <a:xfrm>
              <a:off x="7888076" y="149915"/>
              <a:ext cx="1127539" cy="384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4A06F8B-B5FE-43ED-B5CD-3AF475BAA243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171179" y="1558826"/>
            <a:ext cx="10972799" cy="1588"/>
          </a:xfrm>
          <a:prstGeom prst="line">
            <a:avLst/>
          </a:prstGeom>
          <a:ln>
            <a:solidFill>
              <a:srgbClr val="00B0F0"/>
            </a:solidFill>
            <a:headEnd/>
            <a:tailEnd/>
          </a:ln>
          <a:effectLst>
            <a:outerShdw blurRad="50800" dist="25400" dir="5400000" rotWithShape="0">
              <a:srgbClr val="000000">
                <a:alpha val="45000"/>
              </a:srgbClr>
            </a:outerShdw>
            <a:reflection blurRad="6350" stA="50000" endA="300" endPos="90000" dir="5400000" sy="-100000" algn="bl" rotWithShape="0"/>
          </a:effectLst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9" name="Picture 2">
            <a:extLst>
              <a:ext uri="{FF2B5EF4-FFF2-40B4-BE49-F238E27FC236}">
                <a16:creationId xmlns:a16="http://schemas.microsoft.com/office/drawing/2014/main" id="{0BB0AD3D-D95F-40A8-ABF5-07ED7346F55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6664"/>
            <a:ext cx="12192000" cy="54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177" y="2019013"/>
            <a:ext cx="10972800" cy="419080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5"/>
              </a:buClr>
              <a:buFont typeface="Wingdings" pitchFamily="2" charset="2"/>
              <a:buChar char="£"/>
              <a:defRPr sz="1800" baseline="0">
                <a:solidFill>
                  <a:srgbClr val="394449"/>
                </a:solidFill>
                <a:latin typeface="Arial"/>
                <a:cs typeface="Arial"/>
              </a:defRPr>
            </a:lvl1pPr>
            <a:lvl2pPr>
              <a:buClr>
                <a:schemeClr val="accent5"/>
              </a:buClr>
              <a:buFont typeface="Courier New" pitchFamily="49" charset="0"/>
              <a:buChar char="o"/>
              <a:defRPr sz="1600">
                <a:latin typeface="Arial"/>
                <a:cs typeface="Arial"/>
              </a:defRPr>
            </a:lvl2pPr>
            <a:lvl3pPr>
              <a:buClr>
                <a:schemeClr val="accent5"/>
              </a:buClr>
              <a:defRPr sz="1400">
                <a:latin typeface="Arial"/>
                <a:cs typeface="Arial"/>
              </a:defRPr>
            </a:lvl3pPr>
            <a:lvl4pPr>
              <a:buClr>
                <a:schemeClr val="accent5"/>
              </a:buClr>
              <a:defRPr sz="1200"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71177" y="1560414"/>
            <a:ext cx="10972800" cy="45859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>
                <a:solidFill>
                  <a:srgbClr val="39444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171178" y="755552"/>
            <a:ext cx="10972799" cy="804862"/>
          </a:xfr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rgbClr val="00A9E2"/>
                </a:solidFill>
                <a:latin typeface="Arial Black" panose="020B0A04020102020204" pitchFamily="34" charset="0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E3E72436-3826-406C-8A03-7E6FD991E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4D66B20-F8CB-4A5B-8A2C-94CFB6F43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E2654C6-8192-4B74-A80E-F6F1D1361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8264DB6-6ECF-4F4B-97BF-8B8097A515A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643398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PPT Setup Whit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5400" y="-9525"/>
            <a:ext cx="1224280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8710084" y="6248400"/>
            <a:ext cx="2614083" cy="18466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2FF68AE-F2D6-4456-8503-AB2D018ACFFD}" type="slidenum">
              <a:rPr lang="en-US" sz="1200" smtClean="0"/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080" y="1076960"/>
            <a:ext cx="1043093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94080" y="1868806"/>
            <a:ext cx="10444480" cy="4578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94080" y="2489200"/>
            <a:ext cx="10430933" cy="355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894081" y="6248400"/>
            <a:ext cx="6068907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053612"/>
      </p:ext>
    </p:extLst>
  </p:cSld>
  <p:clrMapOvr>
    <a:masterClrMapping/>
  </p:clrMapOvr>
  <p:transition/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3675"/>
            <a:ext cx="12192000" cy="647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9176" y="5250873"/>
            <a:ext cx="5684625" cy="706150"/>
          </a:xfrm>
        </p:spPr>
        <p:txBody>
          <a:bodyPr anchor="b"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A8B8D-8151-437C-A743-90794E4B73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73752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243" y="69272"/>
            <a:ext cx="8355358" cy="623454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907" y="1002507"/>
            <a:ext cx="10515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E131DD-2923-42CD-B8C9-6A14E573600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74337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2115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5243" y="69272"/>
            <a:ext cx="8355358" cy="623454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377355" y="1002507"/>
            <a:ext cx="5405404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C47341-3A7F-4FA9-B289-8C666847710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96976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4185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55243" y="69272"/>
            <a:ext cx="8355358" cy="623454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55244" y="997529"/>
            <a:ext cx="5405404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45D4E8-6F09-44CD-85B4-64B86EA581C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968055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631" y="-4763"/>
            <a:ext cx="12238892" cy="687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55243" y="69272"/>
            <a:ext cx="8355358" cy="623454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359769" y="1000433"/>
            <a:ext cx="5405404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5A4CE0-FD8B-4876-9D6B-CB07717AD47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55314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image" Target="../media/image1.png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16664"/>
            <a:ext cx="12192000" cy="54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239185" y="58739"/>
            <a:ext cx="11713633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4B63ED2-1B8F-4001-8D52-87C0B8CFB5B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6" name="Straight Connector 5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>
            <a:off x="239185" y="579438"/>
            <a:ext cx="11713633" cy="0"/>
          </a:xfrm>
          <a:prstGeom prst="line">
            <a:avLst/>
          </a:prstGeom>
          <a:noFill/>
          <a:ln w="25400">
            <a:solidFill>
              <a:srgbClr val="00B7E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4131930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000" kern="1200">
          <a:solidFill>
            <a:schemeClr val="tx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1" y="365126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1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7C0CEADB-BC2B-4890-B665-02F180BF3F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369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2ABC3D7-1CFF-4ACB-B881-9ADA19E00AA4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82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5pPr>
      <a:lvl6pPr marL="4571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6pPr>
      <a:lvl7pPr marL="9143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7pPr>
      <a:lvl8pPr marL="13715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8pPr>
      <a:lvl9pPr marL="182876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1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597" indent="-228597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8" indent="-228597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80" indent="-228597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73" indent="-228597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366" indent="-228597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558" indent="-228597" algn="l" defTabSz="91438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50" indent="-228597" algn="l" defTabSz="91438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43" indent="-228597" algn="l" defTabSz="91438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34" indent="-228597" algn="l" defTabSz="91438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3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5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76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69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61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54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46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38" algn="l" defTabSz="9143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C7498AA-53BA-4E25-944A-014B27BE35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454360"/>
            <a:ext cx="9134136" cy="59492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62D6AFC-AAF8-4520-9B0B-F9A3791EFC6D}"/>
              </a:ext>
            </a:extLst>
          </p:cNvPr>
          <p:cNvSpPr txBox="1"/>
          <p:nvPr/>
        </p:nvSpPr>
        <p:spPr>
          <a:xfrm>
            <a:off x="8472264" y="6166013"/>
            <a:ext cx="2195736" cy="338554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ZA" sz="1600" dirty="0">
                <a:solidFill>
                  <a:prstClr val="white"/>
                </a:solidFill>
                <a:latin typeface="Century Gothic" panose="020B0502020202020204" pitchFamily="34" charset="0"/>
                <a:cs typeface="Arial" pitchFamily="34" charset="0"/>
              </a:rPr>
              <a:t>08 September 20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F1007A-5A1F-4F23-9907-5DE10E9305CD}"/>
              </a:ext>
            </a:extLst>
          </p:cNvPr>
          <p:cNvSpPr txBox="1"/>
          <p:nvPr/>
        </p:nvSpPr>
        <p:spPr>
          <a:xfrm>
            <a:off x="5393635" y="4916558"/>
            <a:ext cx="52743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ZA" sz="2000" b="1" dirty="0">
                <a:solidFill>
                  <a:prstClr val="white"/>
                </a:solidFill>
                <a:latin typeface="Century Gothic" panose="020B0502020202020204" pitchFamily="34" charset="0"/>
                <a:cs typeface="Arial" pitchFamily="34" charset="0"/>
              </a:rPr>
              <a:t> Progress Report on the Refurbishment of the Rail Infrastructur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2000" b="1" dirty="0">
                <a:solidFill>
                  <a:prstClr val="white"/>
                </a:solidFill>
                <a:latin typeface="Century Gothic" panose="020B0502020202020204" pitchFamily="34" charset="0"/>
                <a:cs typeface="Arial" pitchFamily="34" charset="0"/>
              </a:rPr>
              <a:t>Select Committee on Transport, Public Service and Public Works &amp;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266951070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fra Maintenance Projects Overview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sz="2400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360363" lvl="1" indent="-360363" algn="ctr"/>
            <a:endParaRPr lang="en-GB" sz="1400" dirty="0"/>
          </a:p>
          <a:p>
            <a:pPr marL="0" lvl="1" indent="0" algn="ctr">
              <a:buNone/>
            </a:pPr>
            <a:r>
              <a:rPr lang="en-ZA" sz="1400" dirty="0">
                <a:solidFill>
                  <a:srgbClr val="000000"/>
                </a:solidFill>
                <a:latin typeface="Times New Roman" panose="02020603050405020304" pitchFamily="18" charset="0"/>
              </a:rPr>
              <a:t>  </a:t>
            </a:r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A81F2A77-489F-4C54-9B21-740F5C376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192695"/>
            <a:ext cx="9694532" cy="5513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1432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erformanc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17B16DB7-B7D7-4DBB-9EFD-C272D22F41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674" y="1192695"/>
            <a:ext cx="9838006" cy="532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08132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- Dashboard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224C6A5-D921-403C-B644-2E42095DF3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955082"/>
              </p:ext>
            </p:extLst>
          </p:nvPr>
        </p:nvGraphicFramePr>
        <p:xfrm>
          <a:off x="0" y="1192697"/>
          <a:ext cx="12192000" cy="5757604"/>
        </p:xfrm>
        <a:graphic>
          <a:graphicData uri="http://schemas.openxmlformats.org/drawingml/2006/table">
            <a:tbl>
              <a:tblPr/>
              <a:tblGrid>
                <a:gridCol w="1245704">
                  <a:extLst>
                    <a:ext uri="{9D8B030D-6E8A-4147-A177-3AD203B41FA5}">
                      <a16:colId xmlns:a16="http://schemas.microsoft.com/office/drawing/2014/main" val="1489537137"/>
                    </a:ext>
                  </a:extLst>
                </a:gridCol>
                <a:gridCol w="1484244">
                  <a:extLst>
                    <a:ext uri="{9D8B030D-6E8A-4147-A177-3AD203B41FA5}">
                      <a16:colId xmlns:a16="http://schemas.microsoft.com/office/drawing/2014/main" val="128666036"/>
                    </a:ext>
                  </a:extLst>
                </a:gridCol>
                <a:gridCol w="5830956">
                  <a:extLst>
                    <a:ext uri="{9D8B030D-6E8A-4147-A177-3AD203B41FA5}">
                      <a16:colId xmlns:a16="http://schemas.microsoft.com/office/drawing/2014/main" val="1743412950"/>
                    </a:ext>
                  </a:extLst>
                </a:gridCol>
                <a:gridCol w="1126435">
                  <a:extLst>
                    <a:ext uri="{9D8B030D-6E8A-4147-A177-3AD203B41FA5}">
                      <a16:colId xmlns:a16="http://schemas.microsoft.com/office/drawing/2014/main" val="2391136382"/>
                    </a:ext>
                  </a:extLst>
                </a:gridCol>
                <a:gridCol w="1470991">
                  <a:extLst>
                    <a:ext uri="{9D8B030D-6E8A-4147-A177-3AD203B41FA5}">
                      <a16:colId xmlns:a16="http://schemas.microsoft.com/office/drawing/2014/main" val="2088875922"/>
                    </a:ext>
                  </a:extLst>
                </a:gridCol>
                <a:gridCol w="1033670">
                  <a:extLst>
                    <a:ext uri="{9D8B030D-6E8A-4147-A177-3AD203B41FA5}">
                      <a16:colId xmlns:a16="http://schemas.microsoft.com/office/drawing/2014/main" val="4161793998"/>
                    </a:ext>
                  </a:extLst>
                </a:gridCol>
              </a:tblGrid>
              <a:tr h="186380">
                <a:tc rowSpan="2">
                  <a:txBody>
                    <a:bodyPr/>
                    <a:lstStyle/>
                    <a:p>
                      <a:pPr algn="l" rtl="0" fontAlgn="auto"/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1" i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rridor ​</a:t>
                      </a:r>
                      <a:endParaRPr lang="en-ZA" sz="12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5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</a:t>
                      </a:r>
                      <a:r>
                        <a:rPr lang="en-ZA" sz="5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500" b="1" i="0">
                        <a:solidFill>
                          <a:srgbClr val="FFFFFF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5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5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5467854"/>
                  </a:ext>
                </a:extLst>
              </a:tr>
              <a:tr h="20393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201156"/>
                  </a:ext>
                </a:extLst>
              </a:tr>
              <a:tr h="914641">
                <a:tc rowSpan="5">
                  <a:txBody>
                    <a:bodyPr/>
                    <a:lstStyle/>
                    <a:p>
                      <a:pPr algn="l" rtl="0" fontAlgn="auto"/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1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ienaarspoort</a:t>
                      </a: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–PTA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Electrical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(Substations / 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furbishment of Rissik,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Koedoespoort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and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Eerste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Fabrieke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subs and Ties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furbishment of OHTE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ienaarspoort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to Pretoria 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ubstations</a:t>
                      </a:r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:22 March2022 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OHTE : 24March2022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ubs &amp; OHTE BEC  Stage : To be finalized by 23 Sept 2021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ubs : R64m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OHTE: R44m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222514"/>
                  </a:ext>
                </a:extLst>
              </a:tr>
              <a:tr h="55928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erway</a:t>
                      </a: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: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): Screening, Regulation, Tamping and Rail Grinding 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1 March 2022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at Award stage: 30 August2021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10.2mil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24856"/>
                  </a:ext>
                </a:extLst>
              </a:tr>
              <a:tr h="65238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Performance Improvement Works - Supply &amp; Delivery of 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0 August2022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Contracting Stage:30 August2021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32.4mil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106354"/>
                  </a:ext>
                </a:extLst>
              </a:tr>
              <a:tr h="55928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furbishment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 System : Points, Train Detection System and Signals 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1 March 2023​</a:t>
                      </a:r>
                      <a:endParaRPr lang="en-ZA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Awaiting CFST appointment:15 Sep2021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91.5mil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069495"/>
                  </a:ext>
                </a:extLst>
              </a:tr>
              <a:tr h="91464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2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habilitation of Aerial Optic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fibr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 network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habilitation of underground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fibr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 network &amp; Optical Transport network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habilitation of Public Address Systems, Electronic Display Boards, 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None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 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ailCom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and Help points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habilitation of integrated access control systems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1 March 2023​</a:t>
                      </a:r>
                      <a:endParaRPr lang="en-ZA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Design Stage: 15 Sep2021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20 mil​</a:t>
                      </a:r>
                      <a:endParaRPr lang="pt-BR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34 mil​</a:t>
                      </a:r>
                      <a:endParaRPr lang="pt-BR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34.5 mil​</a:t>
                      </a:r>
                      <a:endParaRPr lang="pt-BR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pt-BR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19.9 mil​</a:t>
                      </a:r>
                      <a:endParaRPr lang="pt-BR" sz="12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4764440"/>
                  </a:ext>
                </a:extLst>
              </a:tr>
              <a:tr h="1674747"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ion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hase 1 of the programme is to achieve functionality of  7 stations  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hase 2  of the programme is to achieve functionality of  5 stations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1 ABT is planned to be completed 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8 February 2022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9 May 2022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8 December 2021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Consultants have been advertised and closing 08 Sep 2021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The ABT  advert closed 24-Aug-21 and in BEC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30.4mil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37mil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6.6mil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46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81946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– Dashboard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E7869B3-C0DE-4107-BDBA-0AB8A849B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135044"/>
              </p:ext>
            </p:extLst>
          </p:nvPr>
        </p:nvGraphicFramePr>
        <p:xfrm>
          <a:off x="0" y="1060174"/>
          <a:ext cx="12191999" cy="5334544"/>
        </p:xfrm>
        <a:graphic>
          <a:graphicData uri="http://schemas.openxmlformats.org/drawingml/2006/table">
            <a:tbl>
              <a:tblPr/>
              <a:tblGrid>
                <a:gridCol w="892238">
                  <a:extLst>
                    <a:ext uri="{9D8B030D-6E8A-4147-A177-3AD203B41FA5}">
                      <a16:colId xmlns:a16="http://schemas.microsoft.com/office/drawing/2014/main" val="1836293045"/>
                    </a:ext>
                  </a:extLst>
                </a:gridCol>
                <a:gridCol w="1575378">
                  <a:extLst>
                    <a:ext uri="{9D8B030D-6E8A-4147-A177-3AD203B41FA5}">
                      <a16:colId xmlns:a16="http://schemas.microsoft.com/office/drawing/2014/main" val="2738858045"/>
                    </a:ext>
                  </a:extLst>
                </a:gridCol>
                <a:gridCol w="5115598">
                  <a:extLst>
                    <a:ext uri="{9D8B030D-6E8A-4147-A177-3AD203B41FA5}">
                      <a16:colId xmlns:a16="http://schemas.microsoft.com/office/drawing/2014/main" val="104647397"/>
                    </a:ext>
                  </a:extLst>
                </a:gridCol>
                <a:gridCol w="1757855">
                  <a:extLst>
                    <a:ext uri="{9D8B030D-6E8A-4147-A177-3AD203B41FA5}">
                      <a16:colId xmlns:a16="http://schemas.microsoft.com/office/drawing/2014/main" val="1983552303"/>
                    </a:ext>
                  </a:extLst>
                </a:gridCol>
                <a:gridCol w="1659221">
                  <a:extLst>
                    <a:ext uri="{9D8B030D-6E8A-4147-A177-3AD203B41FA5}">
                      <a16:colId xmlns:a16="http://schemas.microsoft.com/office/drawing/2014/main" val="70183646"/>
                    </a:ext>
                  </a:extLst>
                </a:gridCol>
                <a:gridCol w="1191709">
                  <a:extLst>
                    <a:ext uri="{9D8B030D-6E8A-4147-A177-3AD203B41FA5}">
                      <a16:colId xmlns:a16="http://schemas.microsoft.com/office/drawing/2014/main" val="3731888817"/>
                    </a:ext>
                  </a:extLst>
                </a:gridCol>
              </a:tblGrid>
              <a:tr h="120807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036133"/>
                  </a:ext>
                </a:extLst>
              </a:tr>
              <a:tr h="24956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325459"/>
                  </a:ext>
                </a:extLst>
              </a:tr>
              <a:tr h="914073">
                <a:tc rowSpan="5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ledi-JHB </a:t>
                      </a:r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 (Substations / 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Naledi,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hlazane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Dube, New Canada; Braamfontein,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nglaagte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, New Canada &amp; Dube ,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nglaagte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Braamfontein Substation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OHTE Naledi - Johannesburg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tations March 2022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 March 2022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 &amp; OHTE BEC  Stage : To be finalized by 23 Sept 2021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: R133m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: R45m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317252"/>
                  </a:ext>
                </a:extLst>
              </a:tr>
              <a:tr h="58643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 / Infrastructure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2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 stage: 30 August2021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0.2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8320154"/>
                  </a:ext>
                </a:extLst>
              </a:tr>
              <a:tr h="64638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 Performance Improvement Works - Supply &amp; Delivery of Rails(Perway Available) : 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2022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 Stage:30 August2021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48.6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453677"/>
                  </a:ext>
                </a:extLst>
              </a:tr>
              <a:tr h="91407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ystem(Points, Train Detection &amp; Signals) at : Naledi to New Canada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ystem (Points, Train Detection &amp; Signals at : New Canada to Johannesburg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iting CFST appointment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51.2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69.1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973951"/>
                  </a:ext>
                </a:extLst>
              </a:tr>
              <a:tr h="102508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Aerial Optic fibre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underground fibre network &amp; Optical Transport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Public Address Systems, Electronic Display Boards, RailCom and Help point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integrated access control systems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vice requests at PRASA TECH CEO office for approva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0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2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8.6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4 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897535"/>
                  </a:ext>
                </a:extLst>
              </a:tr>
              <a:tr h="661232"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stations are planned to be delivered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scope of work includes station and platform lighting, access control, platform resurfacing, functional ticket office, waiting facilities,  yellow lines, etc.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1 September 2022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ant have been advertised and closing 16 Aug 2021 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56.6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604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8372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1AD5894-CD11-4B62-8C4E-1B26E746D4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647797"/>
              </p:ext>
            </p:extLst>
          </p:nvPr>
        </p:nvGraphicFramePr>
        <p:xfrm>
          <a:off x="1" y="1119136"/>
          <a:ext cx="12191999" cy="5244693"/>
        </p:xfrm>
        <a:graphic>
          <a:graphicData uri="http://schemas.openxmlformats.org/drawingml/2006/table">
            <a:tbl>
              <a:tblPr/>
              <a:tblGrid>
                <a:gridCol w="1505015">
                  <a:extLst>
                    <a:ext uri="{9D8B030D-6E8A-4147-A177-3AD203B41FA5}">
                      <a16:colId xmlns:a16="http://schemas.microsoft.com/office/drawing/2014/main" val="120888785"/>
                    </a:ext>
                  </a:extLst>
                </a:gridCol>
                <a:gridCol w="1532629">
                  <a:extLst>
                    <a:ext uri="{9D8B030D-6E8A-4147-A177-3AD203B41FA5}">
                      <a16:colId xmlns:a16="http://schemas.microsoft.com/office/drawing/2014/main" val="2419826011"/>
                    </a:ext>
                  </a:extLst>
                </a:gridCol>
                <a:gridCol w="4929269">
                  <a:extLst>
                    <a:ext uri="{9D8B030D-6E8A-4147-A177-3AD203B41FA5}">
                      <a16:colId xmlns:a16="http://schemas.microsoft.com/office/drawing/2014/main" val="3149373004"/>
                    </a:ext>
                  </a:extLst>
                </a:gridCol>
                <a:gridCol w="1725934">
                  <a:extLst>
                    <a:ext uri="{9D8B030D-6E8A-4147-A177-3AD203B41FA5}">
                      <a16:colId xmlns:a16="http://schemas.microsoft.com/office/drawing/2014/main" val="2862573831"/>
                    </a:ext>
                  </a:extLst>
                </a:gridCol>
                <a:gridCol w="1422171">
                  <a:extLst>
                    <a:ext uri="{9D8B030D-6E8A-4147-A177-3AD203B41FA5}">
                      <a16:colId xmlns:a16="http://schemas.microsoft.com/office/drawing/2014/main" val="1712299261"/>
                    </a:ext>
                  </a:extLst>
                </a:gridCol>
                <a:gridCol w="1076981">
                  <a:extLst>
                    <a:ext uri="{9D8B030D-6E8A-4147-A177-3AD203B41FA5}">
                      <a16:colId xmlns:a16="http://schemas.microsoft.com/office/drawing/2014/main" val="673583738"/>
                    </a:ext>
                  </a:extLst>
                </a:gridCol>
              </a:tblGrid>
              <a:tr h="234484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3694733"/>
                  </a:ext>
                </a:extLst>
              </a:tr>
              <a:tr h="23448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507142"/>
                  </a:ext>
                </a:extLst>
              </a:tr>
              <a:tr h="861377">
                <a:tc rowSpan="5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ralla- Elandsfontein -JHB 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 (Substations / 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ralla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;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mbisa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alfontein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;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rchleigh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; Kempton Park; Elandsfontein; Knights; Germiston; George Goch Ties and Substation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OHTE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ralla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 Johannesburg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tations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22 March2022 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 : 24 March2022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 &amp; OHTE BEC  Stage : To be finalized by 23 Sept 2021​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:R238m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: R76m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958562"/>
                  </a:ext>
                </a:extLst>
              </a:tr>
              <a:tr h="65241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2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 stage: 30 August2021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0.2mil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986272"/>
                  </a:ext>
                </a:extLst>
              </a:tr>
              <a:tr h="61051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- Supply &amp; Delivery of 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2022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 Stage:30 August2021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2,6mil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916919"/>
                  </a:ext>
                </a:extLst>
              </a:tr>
              <a:tr h="86137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the signalling system(Signals, Points &amp; Train Detection System) at : Leralla to Knights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the Signalling System(Signals, Points &amp; Train Detection System )at :  Knight to Johannesburg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iting 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ST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ppointment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77,2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77,2mil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7931839"/>
                  </a:ext>
                </a:extLst>
              </a:tr>
              <a:tr h="102260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Aerial Optic fibre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underground fibre network &amp; Optical Transport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Public Address Systems, Electronic Display Boards, RailCom and Help point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integrated access control systems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vice requests at PRASA TECH CEO office for approval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5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1.5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.2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3.1 mil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745397"/>
                  </a:ext>
                </a:extLst>
              </a:tr>
              <a:tr h="747250"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ase 1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s to achieve functionality of  7 stations 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ase 2 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s to achieve functionality of  9 stations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February 2022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ants have been advertised and closing 16 Aug 2021 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1.3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40.2mil​</a:t>
                      </a:r>
                    </a:p>
                  </a:txBody>
                  <a:tcPr marL="26056" marR="26056" marT="13028" marB="1302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01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3468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94CC62C-25E2-4A12-9B36-69B0AEBFC1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8661268"/>
              </p:ext>
            </p:extLst>
          </p:nvPr>
        </p:nvGraphicFramePr>
        <p:xfrm>
          <a:off x="53008" y="1084165"/>
          <a:ext cx="12085984" cy="5154942"/>
        </p:xfrm>
        <a:graphic>
          <a:graphicData uri="http://schemas.openxmlformats.org/drawingml/2006/table">
            <a:tbl>
              <a:tblPr/>
              <a:tblGrid>
                <a:gridCol w="1265706">
                  <a:extLst>
                    <a:ext uri="{9D8B030D-6E8A-4147-A177-3AD203B41FA5}">
                      <a16:colId xmlns:a16="http://schemas.microsoft.com/office/drawing/2014/main" val="2335386807"/>
                    </a:ext>
                  </a:extLst>
                </a:gridCol>
                <a:gridCol w="1769042">
                  <a:extLst>
                    <a:ext uri="{9D8B030D-6E8A-4147-A177-3AD203B41FA5}">
                      <a16:colId xmlns:a16="http://schemas.microsoft.com/office/drawing/2014/main" val="1305609967"/>
                    </a:ext>
                  </a:extLst>
                </a:gridCol>
                <a:gridCol w="4911073">
                  <a:extLst>
                    <a:ext uri="{9D8B030D-6E8A-4147-A177-3AD203B41FA5}">
                      <a16:colId xmlns:a16="http://schemas.microsoft.com/office/drawing/2014/main" val="158617245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573995926"/>
                    </a:ext>
                  </a:extLst>
                </a:gridCol>
                <a:gridCol w="1783195">
                  <a:extLst>
                    <a:ext uri="{9D8B030D-6E8A-4147-A177-3AD203B41FA5}">
                      <a16:colId xmlns:a16="http://schemas.microsoft.com/office/drawing/2014/main" val="4122225192"/>
                    </a:ext>
                  </a:extLst>
                </a:gridCol>
                <a:gridCol w="985368">
                  <a:extLst>
                    <a:ext uri="{9D8B030D-6E8A-4147-A177-3AD203B41FA5}">
                      <a16:colId xmlns:a16="http://schemas.microsoft.com/office/drawing/2014/main" val="2001894474"/>
                    </a:ext>
                  </a:extLst>
                </a:gridCol>
              </a:tblGrid>
              <a:tr h="115998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9132327"/>
                  </a:ext>
                </a:extLst>
              </a:tr>
              <a:tr h="23212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33705"/>
                  </a:ext>
                </a:extLst>
              </a:tr>
              <a:tr h="856179">
                <a:tc rowSpan="5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ulsville- PTA 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 (Substations / 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ulsvill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Cor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lfos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; Mitchell Street, Pretoria Ties and substation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OHTE on the second line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tations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22 March 2022 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 : 24 March 2022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 &amp; OHTE BEC  Stage : To be finalized by 23 Sept 2021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: R29m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: R12m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849329"/>
                  </a:ext>
                </a:extLst>
              </a:tr>
              <a:tr h="64816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2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 stage: 30 August2021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0.2mil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6357611"/>
                  </a:ext>
                </a:extLst>
              </a:tr>
              <a:tr h="64816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- Supply &amp; Delivery of 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 2022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 Stage: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 August2021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8mil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45563"/>
                  </a:ext>
                </a:extLst>
              </a:tr>
              <a:tr h="46887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ystem (Signals, Points, Train Detection) at :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ulsvill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to Pretoria 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iting CFST appointment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42.8mil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250067"/>
                  </a:ext>
                </a:extLst>
              </a:tr>
              <a:tr h="103465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Aerial Optic fibre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underground fibre network &amp; Optical Transport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Public Address Systems, Electronic Display Boards, RailCom and Help point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integrated access control systems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vice requests at PRASA TECH CEO office for approval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0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7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3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8 mil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13838"/>
                  </a:ext>
                </a:extLst>
              </a:tr>
              <a:tr h="1022743"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Stations are planned to be delivered on NSIP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station are planned to be delivered on CIP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January 2022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2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ants have been advertised and closing 08 Sep 2021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IP tender specification in progress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6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6.5mil​</a:t>
                      </a:r>
                    </a:p>
                  </a:txBody>
                  <a:tcPr marL="24724" marR="24724" marT="12362" marB="1236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648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43191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4E92A38-0014-400E-9943-F2FAC0E6A8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811553"/>
              </p:ext>
            </p:extLst>
          </p:nvPr>
        </p:nvGraphicFramePr>
        <p:xfrm>
          <a:off x="0" y="1096626"/>
          <a:ext cx="12085982" cy="5259727"/>
        </p:xfrm>
        <a:graphic>
          <a:graphicData uri="http://schemas.openxmlformats.org/drawingml/2006/table">
            <a:tbl>
              <a:tblPr/>
              <a:tblGrid>
                <a:gridCol w="1410235">
                  <a:extLst>
                    <a:ext uri="{9D8B030D-6E8A-4147-A177-3AD203B41FA5}">
                      <a16:colId xmlns:a16="http://schemas.microsoft.com/office/drawing/2014/main" val="3548137877"/>
                    </a:ext>
                  </a:extLst>
                </a:gridCol>
                <a:gridCol w="1776352">
                  <a:extLst>
                    <a:ext uri="{9D8B030D-6E8A-4147-A177-3AD203B41FA5}">
                      <a16:colId xmlns:a16="http://schemas.microsoft.com/office/drawing/2014/main" val="1452715005"/>
                    </a:ext>
                  </a:extLst>
                </a:gridCol>
                <a:gridCol w="4623942">
                  <a:extLst>
                    <a:ext uri="{9D8B030D-6E8A-4147-A177-3AD203B41FA5}">
                      <a16:colId xmlns:a16="http://schemas.microsoft.com/office/drawing/2014/main" val="1950156669"/>
                    </a:ext>
                  </a:extLst>
                </a:gridCol>
                <a:gridCol w="1522657">
                  <a:extLst>
                    <a:ext uri="{9D8B030D-6E8A-4147-A177-3AD203B41FA5}">
                      <a16:colId xmlns:a16="http://schemas.microsoft.com/office/drawing/2014/main" val="2251645137"/>
                    </a:ext>
                  </a:extLst>
                </a:gridCol>
                <a:gridCol w="1670774">
                  <a:extLst>
                    <a:ext uri="{9D8B030D-6E8A-4147-A177-3AD203B41FA5}">
                      <a16:colId xmlns:a16="http://schemas.microsoft.com/office/drawing/2014/main" val="689301869"/>
                    </a:ext>
                  </a:extLst>
                </a:gridCol>
                <a:gridCol w="1082022">
                  <a:extLst>
                    <a:ext uri="{9D8B030D-6E8A-4147-A177-3AD203B41FA5}">
                      <a16:colId xmlns:a16="http://schemas.microsoft.com/office/drawing/2014/main" val="734535454"/>
                    </a:ext>
                  </a:extLst>
                </a:gridCol>
              </a:tblGrid>
              <a:tr h="148594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178151"/>
                  </a:ext>
                </a:extLst>
              </a:tr>
              <a:tr h="2600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141035"/>
                  </a:ext>
                </a:extLst>
              </a:tr>
              <a:tr h="1040162">
                <a:tc rowSpan="5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TA- Kaalfontein 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 (Substations / 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weoedburg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;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inedene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nd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akmoor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Sub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OHTE Pretoria - 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alfontei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n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tations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 March2022 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 : 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March2022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 &amp; OHTE BEC  Stage : To be finalized by 23 Sept 2021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: R53m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 :R55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806395"/>
                  </a:ext>
                </a:extLst>
              </a:tr>
              <a:tr h="70582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2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 stage: 30 August2021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0.2mil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8527526"/>
                  </a:ext>
                </a:extLst>
              </a:tr>
              <a:tr h="59437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ystem (Signals, Points &amp; Train Detection System) at : Pretoria to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alfontein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March 2023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iting CFST appointment 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91,5mil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18236"/>
                  </a:ext>
                </a:extLst>
              </a:tr>
              <a:tr h="126305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Aerial Optic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br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underground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br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etwork &amp; Optical Transport 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Public Address Systems, Electronic Display Boards,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ilCom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nd Help point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integrated access control systems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March 2023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vice requests at PRASA TECH CEO office for approval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0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8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5.5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9,9 mil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2498921"/>
                  </a:ext>
                </a:extLst>
              </a:tr>
              <a:tr h="115160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ase 1 of the programme is to achieve functionality of  3 stations 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ase 2  of the programme is to achieve functionality of  3 station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 February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 June 2022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ants have been advertised and closing 20 Sep 21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3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3.4mil​</a:t>
                      </a:r>
                    </a:p>
                  </a:txBody>
                  <a:tcPr marL="31305" marR="31305" marT="15652" marB="1565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4097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8734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6FFDAA2-ACB2-4F42-8A46-99777042CD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8577167"/>
              </p:ext>
            </p:extLst>
          </p:nvPr>
        </p:nvGraphicFramePr>
        <p:xfrm>
          <a:off x="92766" y="1088270"/>
          <a:ext cx="12099234" cy="5194288"/>
        </p:xfrm>
        <a:graphic>
          <a:graphicData uri="http://schemas.openxmlformats.org/drawingml/2006/table">
            <a:tbl>
              <a:tblPr/>
              <a:tblGrid>
                <a:gridCol w="1056175">
                  <a:extLst>
                    <a:ext uri="{9D8B030D-6E8A-4147-A177-3AD203B41FA5}">
                      <a16:colId xmlns:a16="http://schemas.microsoft.com/office/drawing/2014/main" val="992012589"/>
                    </a:ext>
                  </a:extLst>
                </a:gridCol>
                <a:gridCol w="1671165">
                  <a:extLst>
                    <a:ext uri="{9D8B030D-6E8A-4147-A177-3AD203B41FA5}">
                      <a16:colId xmlns:a16="http://schemas.microsoft.com/office/drawing/2014/main" val="1912123086"/>
                    </a:ext>
                  </a:extLst>
                </a:gridCol>
                <a:gridCol w="4719370">
                  <a:extLst>
                    <a:ext uri="{9D8B030D-6E8A-4147-A177-3AD203B41FA5}">
                      <a16:colId xmlns:a16="http://schemas.microsoft.com/office/drawing/2014/main" val="343553655"/>
                    </a:ext>
                  </a:extLst>
                </a:gridCol>
                <a:gridCol w="1724643">
                  <a:extLst>
                    <a:ext uri="{9D8B030D-6E8A-4147-A177-3AD203B41FA5}">
                      <a16:colId xmlns:a16="http://schemas.microsoft.com/office/drawing/2014/main" val="1821828842"/>
                    </a:ext>
                  </a:extLst>
                </a:gridCol>
                <a:gridCol w="1791488">
                  <a:extLst>
                    <a:ext uri="{9D8B030D-6E8A-4147-A177-3AD203B41FA5}">
                      <a16:colId xmlns:a16="http://schemas.microsoft.com/office/drawing/2014/main" val="3657406981"/>
                    </a:ext>
                  </a:extLst>
                </a:gridCol>
                <a:gridCol w="1136393">
                  <a:extLst>
                    <a:ext uri="{9D8B030D-6E8A-4147-A177-3AD203B41FA5}">
                      <a16:colId xmlns:a16="http://schemas.microsoft.com/office/drawing/2014/main" val="81854207"/>
                    </a:ext>
                  </a:extLst>
                </a:gridCol>
              </a:tblGrid>
              <a:tr h="243217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 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3132905"/>
                  </a:ext>
                </a:extLst>
              </a:tr>
              <a:tr h="24321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938176"/>
                  </a:ext>
                </a:extLst>
              </a:tr>
              <a:tr h="1106708">
                <a:tc rowSpan="6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Daveyton –Germiston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 (Substations / 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the Substations: Alliance, 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unswar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Boksburg East, Angelo, Van 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yn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the OHTE : 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veyton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Germiston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Work to be executed subject to </a:t>
                      </a:r>
                      <a:r>
                        <a:rPr lang="en-US" sz="1200" b="1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ility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tations 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30 August 2022 ​</a:t>
                      </a:r>
                    </a:p>
                    <a:p>
                      <a:pPr algn="l" rtl="0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: :30 August 2022 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 &amp; OHTE BEC  Stage : To be finalized by 23 Sept 2021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s: R88.7mil​</a:t>
                      </a:r>
                    </a:p>
                    <a:p>
                      <a:pPr algn="l" rtl="0" fontAlgn="base"/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: R 50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151257"/>
                  </a:ext>
                </a:extLst>
              </a:tr>
              <a:tr h="50584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Recovery Works  (22km of Rail 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 </a:t>
                      </a:r>
                      <a:r>
                        <a:rPr lang="en-US" sz="1200" b="1" i="0" u="sng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T 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 2022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 stage: 30 August2021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0.2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945457"/>
                  </a:ext>
                </a:extLst>
              </a:tr>
              <a:tr h="66169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- Supply &amp; Delivery of 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2022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 Stage:30 August2021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61.2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690783"/>
                  </a:ext>
                </a:extLst>
              </a:tr>
              <a:tr h="39413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 th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ystem at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veyton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to Germiston 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iting CFST appointment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79.5 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845318"/>
                  </a:ext>
                </a:extLst>
              </a:tr>
              <a:tr h="100899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Aerial Optic fibre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underground fibre network &amp; Optical Transport network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Public Address Systems, Electronic Display Boards, RailCom and Help point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integrated access control systems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3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rvice requests at PRASA TECH CEO office for approva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5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3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1.5 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3.4 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2534529"/>
                  </a:ext>
                </a:extLst>
              </a:tr>
              <a:tr h="77777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Stations are planned to be delivered on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SIP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station are planned to be delivered on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T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July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8 January 2022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ants advertised  closing 20 Sep 202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T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dvert closes 31 Aug 21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4.5mil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8mil​</a:t>
                      </a:r>
                    </a:p>
                  </a:txBody>
                  <a:tcPr marL="27027" marR="27027" marT="13513" marB="1351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7355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00217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EFBE2B8-9E4D-4C76-A02C-A67F91B43B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15571"/>
              </p:ext>
            </p:extLst>
          </p:nvPr>
        </p:nvGraphicFramePr>
        <p:xfrm>
          <a:off x="106017" y="1094828"/>
          <a:ext cx="11979966" cy="4570477"/>
        </p:xfrm>
        <a:graphic>
          <a:graphicData uri="http://schemas.openxmlformats.org/drawingml/2006/table">
            <a:tbl>
              <a:tblPr/>
              <a:tblGrid>
                <a:gridCol w="1092838">
                  <a:extLst>
                    <a:ext uri="{9D8B030D-6E8A-4147-A177-3AD203B41FA5}">
                      <a16:colId xmlns:a16="http://schemas.microsoft.com/office/drawing/2014/main" val="2942150353"/>
                    </a:ext>
                  </a:extLst>
                </a:gridCol>
                <a:gridCol w="1425075">
                  <a:extLst>
                    <a:ext uri="{9D8B030D-6E8A-4147-A177-3AD203B41FA5}">
                      <a16:colId xmlns:a16="http://schemas.microsoft.com/office/drawing/2014/main" val="998008727"/>
                    </a:ext>
                  </a:extLst>
                </a:gridCol>
                <a:gridCol w="4359965">
                  <a:extLst>
                    <a:ext uri="{9D8B030D-6E8A-4147-A177-3AD203B41FA5}">
                      <a16:colId xmlns:a16="http://schemas.microsoft.com/office/drawing/2014/main" val="1368476265"/>
                    </a:ext>
                  </a:extLst>
                </a:gridCol>
                <a:gridCol w="1577009">
                  <a:extLst>
                    <a:ext uri="{9D8B030D-6E8A-4147-A177-3AD203B41FA5}">
                      <a16:colId xmlns:a16="http://schemas.microsoft.com/office/drawing/2014/main" val="2807835373"/>
                    </a:ext>
                  </a:extLst>
                </a:gridCol>
                <a:gridCol w="2266122">
                  <a:extLst>
                    <a:ext uri="{9D8B030D-6E8A-4147-A177-3AD203B41FA5}">
                      <a16:colId xmlns:a16="http://schemas.microsoft.com/office/drawing/2014/main" val="3698413956"/>
                    </a:ext>
                  </a:extLst>
                </a:gridCol>
                <a:gridCol w="1258957">
                  <a:extLst>
                    <a:ext uri="{9D8B030D-6E8A-4147-A177-3AD203B41FA5}">
                      <a16:colId xmlns:a16="http://schemas.microsoft.com/office/drawing/2014/main" val="2618122010"/>
                    </a:ext>
                  </a:extLst>
                </a:gridCol>
              </a:tblGrid>
              <a:tr h="247828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554310"/>
                  </a:ext>
                </a:extLst>
              </a:tr>
              <a:tr h="24782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7793668"/>
                  </a:ext>
                </a:extLst>
              </a:tr>
              <a:tr h="681237">
                <a:tc rowSpan="7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mlazi-Durban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 (Substations / 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pair vandalised substations: Umbilo and Umlazi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pair vandalised switching station at Duffsroad.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June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 2022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ST:17 Sept 202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-Advertised:03 Sep2021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3mil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mil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541463"/>
                  </a:ext>
                </a:extLst>
              </a:tr>
              <a:tr h="46453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idges:rehabilitation:Umlaascanal</a:t>
                      </a: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ridge, </a:t>
                      </a:r>
                      <a:r>
                        <a:rPr lang="en-GB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ndokuhle</a:t>
                      </a: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Umlazi and </a:t>
                      </a:r>
                      <a:r>
                        <a:rPr lang="en-GB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welethu</a:t>
                      </a: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3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ST:08 Sept 2021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82mil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365647"/>
                  </a:ext>
                </a:extLst>
              </a:tr>
              <a:tr h="46453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union - 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welethu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rehabilitation of formation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ecution:50% progres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mil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145859"/>
                  </a:ext>
                </a:extLst>
              </a:tr>
              <a:tr h="61862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2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 stage: 30 August2021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7.3mil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109611"/>
                  </a:ext>
                </a:extLst>
              </a:tr>
              <a:tr h="53602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- Supply &amp; Delivery of 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2022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 Stage:30 August2021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7mil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3769529"/>
                  </a:ext>
                </a:extLst>
              </a:tr>
              <a:tr h="28892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place stolen Signal cables between Durban and Congella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Sept 2022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ST: 03 Sep2021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6mil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637436"/>
                  </a:ext>
                </a:extLst>
              </a:tr>
              <a:tr h="25006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allation of underground fiber between Durban and Umlazi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June 2022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fication: 31 August 2021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5mil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005498"/>
                  </a:ext>
                </a:extLst>
              </a:tr>
              <a:tr h="770877"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Stations are planned to be delivered on NSIP as part of Priority 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Stations are planned to be delivered on NSIP as part Priority 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station are planned to be delivered on ABT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 July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 January 2022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ants have been advertised and closing on 08-Sep-2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T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dvertised and closing on 10-Sep-21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88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51mil 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8mil​</a:t>
                      </a:r>
                    </a:p>
                  </a:txBody>
                  <a:tcPr marL="30643" marR="30643" marT="15322" marB="15322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858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91467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2021/22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1E94FB9-1BE9-4D22-A2AD-737AE030A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5905270"/>
              </p:ext>
            </p:extLst>
          </p:nvPr>
        </p:nvGraphicFramePr>
        <p:xfrm>
          <a:off x="99391" y="1115922"/>
          <a:ext cx="11993217" cy="5153615"/>
        </p:xfrm>
        <a:graphic>
          <a:graphicData uri="http://schemas.openxmlformats.org/drawingml/2006/table">
            <a:tbl>
              <a:tblPr/>
              <a:tblGrid>
                <a:gridCol w="1205948">
                  <a:extLst>
                    <a:ext uri="{9D8B030D-6E8A-4147-A177-3AD203B41FA5}">
                      <a16:colId xmlns:a16="http://schemas.microsoft.com/office/drawing/2014/main" val="1692149111"/>
                    </a:ext>
                  </a:extLst>
                </a:gridCol>
                <a:gridCol w="1749287">
                  <a:extLst>
                    <a:ext uri="{9D8B030D-6E8A-4147-A177-3AD203B41FA5}">
                      <a16:colId xmlns:a16="http://schemas.microsoft.com/office/drawing/2014/main" val="2150453105"/>
                    </a:ext>
                  </a:extLst>
                </a:gridCol>
                <a:gridCol w="4823791">
                  <a:extLst>
                    <a:ext uri="{9D8B030D-6E8A-4147-A177-3AD203B41FA5}">
                      <a16:colId xmlns:a16="http://schemas.microsoft.com/office/drawing/2014/main" val="3877387132"/>
                    </a:ext>
                  </a:extLst>
                </a:gridCol>
                <a:gridCol w="1285461">
                  <a:extLst>
                    <a:ext uri="{9D8B030D-6E8A-4147-A177-3AD203B41FA5}">
                      <a16:colId xmlns:a16="http://schemas.microsoft.com/office/drawing/2014/main" val="1923469965"/>
                    </a:ext>
                  </a:extLst>
                </a:gridCol>
                <a:gridCol w="1802296">
                  <a:extLst>
                    <a:ext uri="{9D8B030D-6E8A-4147-A177-3AD203B41FA5}">
                      <a16:colId xmlns:a16="http://schemas.microsoft.com/office/drawing/2014/main" val="4117837334"/>
                    </a:ext>
                  </a:extLst>
                </a:gridCol>
                <a:gridCol w="1126434">
                  <a:extLst>
                    <a:ext uri="{9D8B030D-6E8A-4147-A177-3AD203B41FA5}">
                      <a16:colId xmlns:a16="http://schemas.microsoft.com/office/drawing/2014/main" val="555751698"/>
                    </a:ext>
                  </a:extLst>
                </a:gridCol>
              </a:tblGrid>
              <a:tr h="238546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6320392"/>
                  </a:ext>
                </a:extLst>
              </a:tr>
              <a:tr h="23854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279676"/>
                  </a:ext>
                </a:extLst>
              </a:tr>
              <a:tr h="450419">
                <a:tc rowSpan="7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wamashu-Durban</a:t>
                      </a:r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 (Substations / OHT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place stolen overhead wires on the Greenwood Park line and Duffsroad - KwaMashu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Sept 2022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CFST:10 Sep 2021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8mil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529051"/>
                  </a:ext>
                </a:extLst>
              </a:tr>
              <a:tr h="66111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Umgeni footbridge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 of drainage and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rmatio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Thembalihle to KwaMashu and Avoca to Duffs Road.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Sept 2022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Jun 2022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CFST:08 Sep 2021​</a:t>
                      </a:r>
                    </a:p>
                    <a:p>
                      <a:pPr algn="l" rtl="0" fontAlgn="base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CFST:25 Aug 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1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mil​</a:t>
                      </a:r>
                    </a:p>
                    <a:p>
                      <a:pPr algn="l" rtl="0" fontAlgn="base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6mil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431256"/>
                  </a:ext>
                </a:extLst>
              </a:tr>
              <a:tr h="66229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1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 stage: 30 August2021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7.3mil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004419"/>
                  </a:ext>
                </a:extLst>
              </a:tr>
              <a:tr h="59894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- Supply &amp; Delivery of 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2022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 Stage:30 August2021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6.2 mil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121989"/>
                  </a:ext>
                </a:extLst>
              </a:tr>
              <a:tr h="99700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place stolen signal equipment at Greenwood Park, Umgeni, Thembalihle and bridge City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Nov 2022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Specification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eenwood Park: 30 Sept 2021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mgeni, Thembalihle and 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idge city 03 Sept 2021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5mil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307594"/>
                  </a:ext>
                </a:extLst>
              </a:tr>
              <a:tr h="50643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allation of underground fiber between Durban and KwaMashu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June 2022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: Specification: 31 August 2021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mil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252702"/>
                  </a:ext>
                </a:extLst>
              </a:tr>
              <a:tr h="79696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Stations are planned to be delivered on NSIP as part of Priority 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Stations are planned to be delivered on NSIP as part Priority 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station are planned to be delivered on ABT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1 August 2022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 February 2022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 for consultant closing 08 September 2021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T advert closing 02 September 2021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0 .8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8.4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8.7mil​</a:t>
                      </a:r>
                    </a:p>
                  </a:txBody>
                  <a:tcPr marL="26860" marR="26860" marT="13430" marB="1343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6035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6498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able of Content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55115" y="1099127"/>
            <a:ext cx="9356758" cy="5257226"/>
          </a:xfrm>
        </p:spPr>
        <p:txBody>
          <a:bodyPr/>
          <a:lstStyle/>
          <a:p>
            <a:pPr marL="800100" lvl="1" indent="-342900">
              <a:buAutoNum type="arabicPeriod"/>
            </a:pPr>
            <a:endParaRPr lang="en-GB" dirty="0"/>
          </a:p>
          <a:p>
            <a:pPr marL="457200" lvl="1" indent="0">
              <a:lnSpc>
                <a:spcPct val="150000"/>
              </a:lnSpc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1. Presidential Projects  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	a. </a:t>
            </a:r>
            <a:r>
              <a:rPr lang="en-GB" sz="2000" dirty="0" err="1">
                <a:latin typeface="Arial" panose="020B0604020202020204" pitchFamily="34" charset="0"/>
                <a:cs typeface="Arial" panose="020B0604020202020204" pitchFamily="34" charset="0"/>
              </a:rPr>
              <a:t>Mabopane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 Rehabilitation Programme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	b. Central Line Rehabilitation Programme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2. Other Priority Projects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3. Depot Modernisation Project 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4. Service Resumption Plan </a:t>
            </a:r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9C63827-2A32-4843-ACE4-83FD88C80868}" type="slidenum">
              <a:rPr lang="en-US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5014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6BC252F-C563-4526-B7DA-D64C627127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681659"/>
              </p:ext>
            </p:extLst>
          </p:nvPr>
        </p:nvGraphicFramePr>
        <p:xfrm>
          <a:off x="112643" y="1104615"/>
          <a:ext cx="11966713" cy="5155077"/>
        </p:xfrm>
        <a:graphic>
          <a:graphicData uri="http://schemas.openxmlformats.org/drawingml/2006/table">
            <a:tbl>
              <a:tblPr/>
              <a:tblGrid>
                <a:gridCol w="1247232">
                  <a:extLst>
                    <a:ext uri="{9D8B030D-6E8A-4147-A177-3AD203B41FA5}">
                      <a16:colId xmlns:a16="http://schemas.microsoft.com/office/drawing/2014/main" val="3648958479"/>
                    </a:ext>
                  </a:extLst>
                </a:gridCol>
                <a:gridCol w="1434985">
                  <a:extLst>
                    <a:ext uri="{9D8B030D-6E8A-4147-A177-3AD203B41FA5}">
                      <a16:colId xmlns:a16="http://schemas.microsoft.com/office/drawing/2014/main" val="1895793387"/>
                    </a:ext>
                  </a:extLst>
                </a:gridCol>
                <a:gridCol w="4586591">
                  <a:extLst>
                    <a:ext uri="{9D8B030D-6E8A-4147-A177-3AD203B41FA5}">
                      <a16:colId xmlns:a16="http://schemas.microsoft.com/office/drawing/2014/main" val="2606140032"/>
                    </a:ext>
                  </a:extLst>
                </a:gridCol>
                <a:gridCol w="1662974">
                  <a:extLst>
                    <a:ext uri="{9D8B030D-6E8A-4147-A177-3AD203B41FA5}">
                      <a16:colId xmlns:a16="http://schemas.microsoft.com/office/drawing/2014/main" val="1651884305"/>
                    </a:ext>
                  </a:extLst>
                </a:gridCol>
                <a:gridCol w="2145774">
                  <a:extLst>
                    <a:ext uri="{9D8B030D-6E8A-4147-A177-3AD203B41FA5}">
                      <a16:colId xmlns:a16="http://schemas.microsoft.com/office/drawing/2014/main" val="4064591800"/>
                    </a:ext>
                  </a:extLst>
                </a:gridCol>
                <a:gridCol w="889157">
                  <a:extLst>
                    <a:ext uri="{9D8B030D-6E8A-4147-A177-3AD203B41FA5}">
                      <a16:colId xmlns:a16="http://schemas.microsoft.com/office/drawing/2014/main" val="1299944102"/>
                    </a:ext>
                  </a:extLst>
                </a:gridCol>
              </a:tblGrid>
              <a:tr h="254975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3778808"/>
                  </a:ext>
                </a:extLst>
              </a:tr>
              <a:tr h="45659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ope​</a:t>
                      </a:r>
                    </a:p>
                  </a:txBody>
                  <a:tcPr marL="39921" marR="39921" marT="19960" marB="19960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Scope Detail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hedule/   Time 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US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dget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362892"/>
                  </a:ext>
                </a:extLst>
              </a:tr>
              <a:tr h="593816">
                <a:tc rowSpan="8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pe Town- Simonstown(Wynburg)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 Distribution Lines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instatement of 11 kV at Steenberg and 33 kV Distribution lines (Thornton to Good Wood)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Jan2022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dvertised:10Sep2021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m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767326"/>
                  </a:ext>
                </a:extLst>
              </a:tr>
              <a:tr h="45659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 Sub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allation of high speed circuit breakers – Diep River sub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3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BAC:30Aug2021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6m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8489189"/>
                  </a:ext>
                </a:extLst>
              </a:tr>
              <a:tr h="59381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 and installation of  Substation Safety doors 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2022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warded: Orders placed : 30 October2022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mil 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559832"/>
                  </a:ext>
                </a:extLst>
              </a:tr>
              <a:tr h="59381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 and Installation of 5MVA Transformer, Rectifier and Wave Filter at False Bay 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3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warded: Orders placed : 30 March2022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4.5mil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9846418"/>
                  </a:ext>
                </a:extLst>
              </a:tr>
              <a:tr h="46259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 and delivery of Track Ballast in the Western Cape Region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2022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iting tender briefing:03Sep2021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mil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439153"/>
                  </a:ext>
                </a:extLst>
              </a:tr>
              <a:tr h="46976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curement of Ultrasonic Measuring Services : UMC 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Dec2024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 Stage: 15Sep2021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8mil 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078999"/>
                  </a:ext>
                </a:extLst>
              </a:tr>
              <a:tr h="58652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urbishment of Perway assets to address RSR Directives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months :30March2022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ecution:70% progress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0.7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6338511"/>
                  </a:ext>
                </a:extLst>
              </a:tr>
              <a:tr h="68454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Maintenance Services to Augment MO Capacity (WC Region) on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hoc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basis 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US" sz="1200" b="0" i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April2022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rded: 40% progres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3.6mil​</a:t>
                      </a:r>
                    </a:p>
                  </a:txBody>
                  <a:tcPr marL="39921" marR="39921" marT="19960" marB="1996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34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54069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613F1FF-AFDF-4E56-A595-E954905BF2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65857"/>
              </p:ext>
            </p:extLst>
          </p:nvPr>
        </p:nvGraphicFramePr>
        <p:xfrm>
          <a:off x="190121" y="1098101"/>
          <a:ext cx="11669868" cy="4423941"/>
        </p:xfrm>
        <a:graphic>
          <a:graphicData uri="http://schemas.openxmlformats.org/drawingml/2006/table">
            <a:tbl>
              <a:tblPr/>
              <a:tblGrid>
                <a:gridCol w="1223177">
                  <a:extLst>
                    <a:ext uri="{9D8B030D-6E8A-4147-A177-3AD203B41FA5}">
                      <a16:colId xmlns:a16="http://schemas.microsoft.com/office/drawing/2014/main" val="1673844809"/>
                    </a:ext>
                  </a:extLst>
                </a:gridCol>
                <a:gridCol w="795131">
                  <a:extLst>
                    <a:ext uri="{9D8B030D-6E8A-4147-A177-3AD203B41FA5}">
                      <a16:colId xmlns:a16="http://schemas.microsoft.com/office/drawing/2014/main" val="3887541506"/>
                    </a:ext>
                  </a:extLst>
                </a:gridCol>
                <a:gridCol w="5685183">
                  <a:extLst>
                    <a:ext uri="{9D8B030D-6E8A-4147-A177-3AD203B41FA5}">
                      <a16:colId xmlns:a16="http://schemas.microsoft.com/office/drawing/2014/main" val="629946075"/>
                    </a:ext>
                  </a:extLst>
                </a:gridCol>
                <a:gridCol w="1404730">
                  <a:extLst>
                    <a:ext uri="{9D8B030D-6E8A-4147-A177-3AD203B41FA5}">
                      <a16:colId xmlns:a16="http://schemas.microsoft.com/office/drawing/2014/main" val="1276045085"/>
                    </a:ext>
                  </a:extLst>
                </a:gridCol>
                <a:gridCol w="1444487">
                  <a:extLst>
                    <a:ext uri="{9D8B030D-6E8A-4147-A177-3AD203B41FA5}">
                      <a16:colId xmlns:a16="http://schemas.microsoft.com/office/drawing/2014/main" val="790612689"/>
                    </a:ext>
                  </a:extLst>
                </a:gridCol>
                <a:gridCol w="1117160">
                  <a:extLst>
                    <a:ext uri="{9D8B030D-6E8A-4147-A177-3AD203B41FA5}">
                      <a16:colId xmlns:a16="http://schemas.microsoft.com/office/drawing/2014/main" val="253689602"/>
                    </a:ext>
                  </a:extLst>
                </a:gridCol>
              </a:tblGrid>
              <a:tr h="211892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9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9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5854423"/>
                  </a:ext>
                </a:extLst>
              </a:tr>
              <a:tr h="37081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0249367"/>
                  </a:ext>
                </a:extLst>
              </a:tr>
              <a:tr h="665298">
                <a:tc rowSpan="5">
                  <a:txBody>
                    <a:bodyPr/>
                    <a:lstStyle/>
                    <a:p>
                      <a:pPr algn="l" rtl="0" fontAlgn="auto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pe Town- Simonstown(</a:t>
                      </a:r>
                      <a:r>
                        <a:rPr lang="en-US" sz="1400" b="1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ynburg</a:t>
                      </a:r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  <a:p>
                      <a:pPr algn="l" rtl="0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(</a:t>
                      </a:r>
                      <a:r>
                        <a:rPr lang="en-US" sz="1400" b="1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t</a:t>
                      </a:r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21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 stage: 30 August2021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5.2mil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589052"/>
                  </a:ext>
                </a:extLst>
              </a:tr>
              <a:tr h="100648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- Supply &amp; Delivery of 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2022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 Stage:30 August2021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8mil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754431"/>
                  </a:ext>
                </a:extLst>
              </a:tr>
              <a:tr h="68864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ual Screening of Level crossing at various locations within Cape Metrorail Western Cape Region (Cape Town – Woodstock)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April2022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ecution:20% progress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2.1mil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749308"/>
                  </a:ext>
                </a:extLst>
              </a:tr>
              <a:tr h="63324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placement of full Double Slip and Single Slip Turnout sets, and Supply of associated Material in Cape Town Metrorail Region (Cape Town – Woodstock)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Dec 2023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t  BEC Stage : 30Sep202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7.4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153151"/>
                  </a:ext>
                </a:extLst>
              </a:tr>
              <a:tr h="84756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 Bridges in the Metrorail Western Cape Region (Salt River, Kenilworth - Wynberg, Plumstead – Steurhof)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September 2023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t  BEC Stage : 30Sep2021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12.9mil​</a:t>
                      </a:r>
                    </a:p>
                  </a:txBody>
                  <a:tcPr marL="47817" marR="47817" marT="23908" marB="2390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932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99220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E0F63C8-96A9-4F37-A7B2-63811A7268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758811"/>
              </p:ext>
            </p:extLst>
          </p:nvPr>
        </p:nvGraphicFramePr>
        <p:xfrm>
          <a:off x="92766" y="1192693"/>
          <a:ext cx="11966713" cy="4645677"/>
        </p:xfrm>
        <a:graphic>
          <a:graphicData uri="http://schemas.openxmlformats.org/drawingml/2006/table">
            <a:tbl>
              <a:tblPr/>
              <a:tblGrid>
                <a:gridCol w="1219199">
                  <a:extLst>
                    <a:ext uri="{9D8B030D-6E8A-4147-A177-3AD203B41FA5}">
                      <a16:colId xmlns:a16="http://schemas.microsoft.com/office/drawing/2014/main" val="1613082624"/>
                    </a:ext>
                  </a:extLst>
                </a:gridCol>
                <a:gridCol w="940905">
                  <a:extLst>
                    <a:ext uri="{9D8B030D-6E8A-4147-A177-3AD203B41FA5}">
                      <a16:colId xmlns:a16="http://schemas.microsoft.com/office/drawing/2014/main" val="1904771735"/>
                    </a:ext>
                  </a:extLst>
                </a:gridCol>
                <a:gridCol w="4015408">
                  <a:extLst>
                    <a:ext uri="{9D8B030D-6E8A-4147-A177-3AD203B41FA5}">
                      <a16:colId xmlns:a16="http://schemas.microsoft.com/office/drawing/2014/main" val="2793116771"/>
                    </a:ext>
                  </a:extLst>
                </a:gridCol>
                <a:gridCol w="2199861">
                  <a:extLst>
                    <a:ext uri="{9D8B030D-6E8A-4147-A177-3AD203B41FA5}">
                      <a16:colId xmlns:a16="http://schemas.microsoft.com/office/drawing/2014/main" val="975519186"/>
                    </a:ext>
                  </a:extLst>
                </a:gridCol>
                <a:gridCol w="2610678">
                  <a:extLst>
                    <a:ext uri="{9D8B030D-6E8A-4147-A177-3AD203B41FA5}">
                      <a16:colId xmlns:a16="http://schemas.microsoft.com/office/drawing/2014/main" val="2011657625"/>
                    </a:ext>
                  </a:extLst>
                </a:gridCol>
                <a:gridCol w="980662">
                  <a:extLst>
                    <a:ext uri="{9D8B030D-6E8A-4147-A177-3AD203B41FA5}">
                      <a16:colId xmlns:a16="http://schemas.microsoft.com/office/drawing/2014/main" val="1578068000"/>
                    </a:ext>
                  </a:extLst>
                </a:gridCol>
              </a:tblGrid>
              <a:tr h="125391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518888"/>
                  </a:ext>
                </a:extLst>
              </a:tr>
              <a:tr h="21943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009578"/>
                  </a:ext>
                </a:extLst>
              </a:tr>
              <a:tr h="644985">
                <a:tc rowSpan="7">
                  <a:txBody>
                    <a:bodyPr/>
                    <a:lstStyle/>
                    <a:p>
                      <a:pPr algn="l" rtl="0" fontAlgn="auto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pe Town- Simonstown</a:t>
                      </a:r>
                    </a:p>
                    <a:p>
                      <a:pPr algn="l" rtl="0" fontAlgn="base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</a:t>
                      </a:r>
                      <a:r>
                        <a:rPr lang="en-US" sz="1400" b="1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ynburg</a:t>
                      </a:r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 </a:t>
                      </a:r>
                    </a:p>
                    <a:p>
                      <a:pPr algn="l" rtl="0" fontAlgn="base"/>
                      <a:r>
                        <a:rPr lang="en-US" sz="1400" b="1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t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ndalproof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Trackside elements (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s,Point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Machines, Axle Counters)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Passed  BEC &amp; still be advertised: 03 Sep2021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mil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229898"/>
                  </a:ext>
                </a:extLst>
              </a:tr>
              <a:tr h="50156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Spares (Point Machine &amp; LED spares,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Cables)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CFST :07 Sep2021​</a:t>
                      </a:r>
                    </a:p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5mil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500475"/>
                  </a:ext>
                </a:extLst>
              </a:tr>
              <a:tr h="65485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curement of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ission Critical Components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finement Motivation at Legal for vetting :30August2021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49mil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681648"/>
                  </a:ext>
                </a:extLst>
              </a:tr>
              <a:tr h="59560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grade Level Crossings​</a:t>
                      </a:r>
                    </a:p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ZA" sz="1200" b="0" i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ecution: Material Ordered: 08October2021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.5mil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393709"/>
                  </a:ext>
                </a:extLst>
              </a:tr>
              <a:tr h="40751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, Deliver, and Install PA Adapters for the WC Region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CFST: 03 Sep2021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4,8mil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17642"/>
                  </a:ext>
                </a:extLst>
              </a:tr>
              <a:tr h="40751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, Delivery, Install and Commission of VoIP telephone system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 CFST:03Sep2021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2mil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709936"/>
                  </a:ext>
                </a:extLst>
              </a:tr>
              <a:tr h="87773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 stations to be delivered on the NSIP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3 February 2023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ultants have been advertised and closing 31 August 2021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14 mill​</a:t>
                      </a:r>
                    </a:p>
                  </a:txBody>
                  <a:tcPr marL="27367" marR="27367" marT="13683" marB="13683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8594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78431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ject Implementation (2021/22)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6893285-548E-4BAA-AE03-F84F2AF7F8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9451583"/>
              </p:ext>
            </p:extLst>
          </p:nvPr>
        </p:nvGraphicFramePr>
        <p:xfrm>
          <a:off x="121921" y="688749"/>
          <a:ext cx="11809013" cy="6017583"/>
        </p:xfrm>
        <a:graphic>
          <a:graphicData uri="http://schemas.openxmlformats.org/drawingml/2006/table">
            <a:tbl>
              <a:tblPr/>
              <a:tblGrid>
                <a:gridCol w="1103500">
                  <a:extLst>
                    <a:ext uri="{9D8B030D-6E8A-4147-A177-3AD203B41FA5}">
                      <a16:colId xmlns:a16="http://schemas.microsoft.com/office/drawing/2014/main" val="2447529564"/>
                    </a:ext>
                  </a:extLst>
                </a:gridCol>
                <a:gridCol w="941312">
                  <a:extLst>
                    <a:ext uri="{9D8B030D-6E8A-4147-A177-3AD203B41FA5}">
                      <a16:colId xmlns:a16="http://schemas.microsoft.com/office/drawing/2014/main" val="3935384871"/>
                    </a:ext>
                  </a:extLst>
                </a:gridCol>
                <a:gridCol w="4812253">
                  <a:extLst>
                    <a:ext uri="{9D8B030D-6E8A-4147-A177-3AD203B41FA5}">
                      <a16:colId xmlns:a16="http://schemas.microsoft.com/office/drawing/2014/main" val="2320677360"/>
                    </a:ext>
                  </a:extLst>
                </a:gridCol>
                <a:gridCol w="1411014">
                  <a:extLst>
                    <a:ext uri="{9D8B030D-6E8A-4147-A177-3AD203B41FA5}">
                      <a16:colId xmlns:a16="http://schemas.microsoft.com/office/drawing/2014/main" val="2792939769"/>
                    </a:ext>
                  </a:extLst>
                </a:gridCol>
                <a:gridCol w="2258125">
                  <a:extLst>
                    <a:ext uri="{9D8B030D-6E8A-4147-A177-3AD203B41FA5}">
                      <a16:colId xmlns:a16="http://schemas.microsoft.com/office/drawing/2014/main" val="2348536070"/>
                    </a:ext>
                  </a:extLst>
                </a:gridCol>
                <a:gridCol w="1282809">
                  <a:extLst>
                    <a:ext uri="{9D8B030D-6E8A-4147-A177-3AD203B41FA5}">
                      <a16:colId xmlns:a16="http://schemas.microsoft.com/office/drawing/2014/main" val="1992813418"/>
                    </a:ext>
                  </a:extLst>
                </a:gridCol>
              </a:tblGrid>
              <a:tr h="225036"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GB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Corridor</a:t>
                      </a:r>
                      <a:r>
                        <a:rPr lang="en-GB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GB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Implementation Status (RAG)​</a:t>
                      </a:r>
                      <a:endParaRPr lang="en-ZA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670043"/>
                  </a:ext>
                </a:extLst>
              </a:tr>
              <a:tr h="22503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ope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Project Scope Details</a:t>
                      </a:r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chedule/Time 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STATUS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ZA" sz="1400" b="0" i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Budget​</a:t>
                      </a:r>
                      <a:endParaRPr lang="en-ZA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622308"/>
                  </a:ext>
                </a:extLst>
              </a:tr>
              <a:tr h="484203">
                <a:tc rowSpan="12"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Town- Simonstown</a:t>
                      </a:r>
                    </a:p>
                    <a:p>
                      <a:pPr algn="l" rtl="0" fontAlgn="base"/>
                      <a:r>
                        <a:rPr lang="en-ZA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(Athlone )</a:t>
                      </a:r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ZA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HTE/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None/>
                      </a:pP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Substations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 and Installation of 5MVA Transformer, Rectifier and Wave Filter at Crawford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3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warded: Orders placed : 30 March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4.5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453942"/>
                  </a:ext>
                </a:extLst>
              </a:tr>
              <a:tr h="45720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/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None/>
                      </a:pP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rastructure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 Track Machines 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: Screening, Regulation, Tamping and Rail Grinding 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31 March 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 stage: 30 August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5.2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222287"/>
                  </a:ext>
                </a:extLst>
              </a:tr>
              <a:tr h="50002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erformance Improvement Works - Supply &amp; Delivery of Rails(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way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vailable) :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kg/m Rail Replacement on the main lin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August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tracting Stage:30 August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18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60651"/>
                  </a:ext>
                </a:extLst>
              </a:tr>
              <a:tr h="43006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 and Installation of Concrete Universal Sleepers at Various within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roRail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( Maitland,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dabeni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and 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zendal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3 April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in Execution:10% 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6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705635"/>
                  </a:ext>
                </a:extLst>
              </a:tr>
              <a:tr h="45005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curement of Ultrasonic Measuring Services :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MC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Dec 2024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Award Stage: 30 August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8mil 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283656"/>
                  </a:ext>
                </a:extLst>
              </a:tr>
              <a:tr h="51003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ndalproof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Trackside elements (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s,Point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Machines, Axle Counters)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Passed  BEC &amp; still be advertised: 03 Sep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3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742335"/>
                  </a:ext>
                </a:extLst>
              </a:tr>
              <a:tr h="48319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habilitation of Maitland Indoor and Outdoor Signalling Equipment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Passed  BEC &amp; still be advertised: 03 Sep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5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853540"/>
                  </a:ext>
                </a:extLst>
              </a:tr>
              <a:tr h="43006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 Spares (Point Machine &amp; LED spares, Signalling Cables)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ST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:07 Sep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8mil​</a:t>
                      </a:r>
                    </a:p>
                    <a:p>
                      <a:pPr algn="l" rtl="0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641444"/>
                  </a:ext>
                </a:extLst>
              </a:tr>
              <a:tr h="42295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curement of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gnalling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ission Critical Components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Confinement Motivation at Legal for vetting :30August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49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605903"/>
                  </a:ext>
                </a:extLst>
              </a:tr>
              <a:tr h="27589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lecoms </a:t>
                      </a: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, Deliver, and Install PA Adapters for the WC Region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</a:t>
                      </a:r>
                      <a:r>
                        <a:rPr lang="en-ZA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ST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03 Sep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5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438768"/>
                  </a:ext>
                </a:extLst>
              </a:tr>
              <a:tr h="26013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, Delivery, Install and Commission of VoIP telephone system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March 2022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at CFST:03Sep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 1.9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67195"/>
                  </a:ext>
                </a:extLst>
              </a:tr>
              <a:tr h="84540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200" b="1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tions</a:t>
                      </a:r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Stations are planned to be delivered on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SIP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s part of Priority 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Stations are planned to be delivered on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SIP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s part Priority 2​</a:t>
                      </a:r>
                    </a:p>
                    <a:p>
                      <a:pPr algn="l" rtl="0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8 Dec 2021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3 Mar 2023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ert for consultants closes 31-Aug-21 and the contractor pre-qualification advert placing on 30 Aug 2021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94.1 mil​</a:t>
                      </a:r>
                    </a:p>
                    <a:p>
                      <a:pPr algn="l" rtl="0" fontAlgn="base"/>
                      <a:r>
                        <a:rPr lang="en-ZA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200 mil​</a:t>
                      </a:r>
                    </a:p>
                  </a:txBody>
                  <a:tcPr marL="20820" marR="20820" marT="10410" marB="10410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04548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1475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pot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odernisa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rojects - Progress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r>
              <a:rPr lang="en-ZA" b="1" dirty="0">
                <a:solidFill>
                  <a:srgbClr val="000000"/>
                </a:solidFill>
                <a:latin typeface="Arial" panose="020B0604020202020204" pitchFamily="34" charset="0"/>
              </a:rPr>
              <a:t>Focus: Sep21–Mar22</a:t>
            </a:r>
            <a:r>
              <a:rPr lang="en-ZA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</a:p>
          <a:p>
            <a:pPr marL="457200" lvl="1" indent="0">
              <a:buNone/>
            </a:pPr>
            <a:endParaRPr lang="en-ZA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ZA" sz="1600" b="1" u="sng" dirty="0"/>
              <a:t>Projects at Initiation stage</a:t>
            </a:r>
            <a:r>
              <a:rPr lang="en-US" sz="1600" dirty="0"/>
              <a:t>​</a:t>
            </a:r>
          </a:p>
          <a:p>
            <a:r>
              <a:rPr lang="en-ZA" sz="1600" dirty="0" err="1"/>
              <a:t>Culemborg</a:t>
            </a:r>
            <a:r>
              <a:rPr lang="en-ZA" sz="1600" dirty="0"/>
              <a:t>/Bloemfontein to advertise and tenders to close in March 2022.</a:t>
            </a:r>
            <a:r>
              <a:rPr lang="en-US" sz="1600" dirty="0"/>
              <a:t>​</a:t>
            </a:r>
          </a:p>
          <a:p>
            <a:r>
              <a:rPr lang="en-ZA" sz="1600" dirty="0"/>
              <a:t>PE and East London depots, </a:t>
            </a:r>
            <a:r>
              <a:rPr lang="en-ZA" sz="1600" b="1" dirty="0"/>
              <a:t>finalise land transfers</a:t>
            </a:r>
            <a:r>
              <a:rPr lang="en-ZA" sz="1600" dirty="0"/>
              <a:t> and advertise tenders.</a:t>
            </a:r>
            <a:r>
              <a:rPr lang="en-US" sz="1600" dirty="0"/>
              <a:t>​</a:t>
            </a:r>
          </a:p>
          <a:p>
            <a:r>
              <a:rPr lang="en-ZA" sz="1600" dirty="0"/>
              <a:t>Motherwell, Complete approvals for the MOA.</a:t>
            </a:r>
            <a:r>
              <a:rPr lang="en-US" sz="1600" dirty="0"/>
              <a:t>​</a:t>
            </a:r>
          </a:p>
          <a:p>
            <a:endParaRPr lang="en-ZA" sz="1600" dirty="0"/>
          </a:p>
          <a:p>
            <a:r>
              <a:rPr lang="en-ZA" sz="1600" b="1" u="sng" dirty="0"/>
              <a:t>Projects at CFST Stage</a:t>
            </a:r>
            <a:r>
              <a:rPr lang="en-US" sz="1600" dirty="0"/>
              <a:t>​</a:t>
            </a:r>
          </a:p>
          <a:p>
            <a:r>
              <a:rPr lang="en-ZA" sz="1600" dirty="0"/>
              <a:t>Braamfontein/</a:t>
            </a:r>
            <a:r>
              <a:rPr lang="en-ZA" sz="1600" dirty="0" err="1"/>
              <a:t>Benrose</a:t>
            </a:r>
            <a:r>
              <a:rPr lang="en-ZA" sz="1600" dirty="0"/>
              <a:t> &amp; </a:t>
            </a:r>
            <a:r>
              <a:rPr lang="en-ZA" sz="1600" dirty="0" err="1"/>
              <a:t>Wolmerton</a:t>
            </a:r>
            <a:r>
              <a:rPr lang="en-ZA" sz="1600" dirty="0"/>
              <a:t> depots: </a:t>
            </a:r>
            <a:r>
              <a:rPr lang="en-US" sz="1600" dirty="0"/>
              <a:t>​</a:t>
            </a:r>
          </a:p>
          <a:p>
            <a:r>
              <a:rPr lang="en-ZA" sz="1600" dirty="0"/>
              <a:t>Advertise tenders in Sept21 – Nov21</a:t>
            </a:r>
            <a:r>
              <a:rPr lang="en-US" sz="1600" dirty="0"/>
              <a:t>​</a:t>
            </a:r>
          </a:p>
          <a:p>
            <a:r>
              <a:rPr lang="en-ZA" sz="1600" dirty="0"/>
              <a:t>BECs – (Dec21-Jan22), </a:t>
            </a:r>
            <a:r>
              <a:rPr lang="en-US" sz="1600" dirty="0"/>
              <a:t>​</a:t>
            </a:r>
          </a:p>
          <a:p>
            <a:r>
              <a:rPr lang="en-ZA" sz="1600" dirty="0"/>
              <a:t>Award Braamfontein in Feb.22, </a:t>
            </a:r>
            <a:r>
              <a:rPr lang="en-ZA" sz="1600" dirty="0" err="1"/>
              <a:t>Wolmerton</a:t>
            </a:r>
            <a:r>
              <a:rPr lang="en-ZA" sz="1600" dirty="0"/>
              <a:t> Feb22 and </a:t>
            </a:r>
            <a:r>
              <a:rPr lang="en-ZA" sz="1600" dirty="0" err="1"/>
              <a:t>Benrose</a:t>
            </a:r>
            <a:r>
              <a:rPr lang="en-ZA" sz="1600" dirty="0"/>
              <a:t> Jan22. </a:t>
            </a:r>
            <a:r>
              <a:rPr lang="en-US" sz="1600" dirty="0"/>
              <a:t>​</a:t>
            </a:r>
          </a:p>
          <a:p>
            <a:endParaRPr lang="en-ZA" sz="1600" dirty="0"/>
          </a:p>
          <a:p>
            <a:r>
              <a:rPr lang="en-ZA" sz="1600" b="1" u="sng" dirty="0"/>
              <a:t>Projects at BEC Stage</a:t>
            </a:r>
            <a:r>
              <a:rPr lang="en-US" sz="1600" dirty="0"/>
              <a:t>​</a:t>
            </a:r>
          </a:p>
          <a:p>
            <a:r>
              <a:rPr lang="en-ZA" sz="1600" dirty="0" err="1"/>
              <a:t>Paadern</a:t>
            </a:r>
            <a:r>
              <a:rPr lang="en-ZA" sz="1600" dirty="0"/>
              <a:t> Eiland depot, to appoint in Jan22 for work to start in Feb22.</a:t>
            </a:r>
            <a:r>
              <a:rPr lang="en-US" sz="1600" dirty="0"/>
              <a:t>​</a:t>
            </a:r>
          </a:p>
          <a:p>
            <a:r>
              <a:rPr lang="en-ZA" sz="1600" dirty="0"/>
              <a:t>Depot fencing to appoint contractors end of Oct21.</a:t>
            </a:r>
            <a:r>
              <a:rPr lang="en-US" sz="1600" dirty="0"/>
              <a:t>​</a:t>
            </a:r>
          </a:p>
          <a:p>
            <a:endParaRPr lang="en-ZA" sz="1600" dirty="0"/>
          </a:p>
          <a:p>
            <a:r>
              <a:rPr lang="en-ZA" sz="1600" b="1" u="sng" dirty="0">
                <a:solidFill>
                  <a:srgbClr val="FF0000"/>
                </a:solidFill>
              </a:rPr>
              <a:t>Projects awarded (Salt River/Durban Yard/Springfield)</a:t>
            </a:r>
            <a:r>
              <a:rPr lang="en-US" sz="1600" b="1" dirty="0">
                <a:solidFill>
                  <a:srgbClr val="FF0000"/>
                </a:solidFill>
              </a:rPr>
              <a:t>​ (This project has been put on hold due to a court case)</a:t>
            </a:r>
          </a:p>
          <a:p>
            <a:r>
              <a:rPr lang="en-ZA" sz="1600" dirty="0">
                <a:solidFill>
                  <a:srgbClr val="FF0000"/>
                </a:solidFill>
              </a:rPr>
              <a:t>Detailed designs and tender documentation to be completed in Dec21,</a:t>
            </a:r>
            <a:r>
              <a:rPr lang="en-US" sz="1600" dirty="0">
                <a:solidFill>
                  <a:srgbClr val="FF0000"/>
                </a:solidFill>
              </a:rPr>
              <a:t>​</a:t>
            </a:r>
          </a:p>
          <a:p>
            <a:r>
              <a:rPr lang="en-ZA" sz="1600" dirty="0">
                <a:solidFill>
                  <a:srgbClr val="FF0000"/>
                </a:solidFill>
              </a:rPr>
              <a:t>CFST and Approach to market approvals in Jan22. </a:t>
            </a:r>
            <a:r>
              <a:rPr lang="en-US" sz="1600" dirty="0">
                <a:solidFill>
                  <a:srgbClr val="FF0000"/>
                </a:solidFill>
              </a:rPr>
              <a:t>​</a:t>
            </a:r>
          </a:p>
          <a:p>
            <a:r>
              <a:rPr lang="en-ZA" sz="1600" dirty="0">
                <a:solidFill>
                  <a:srgbClr val="FF0000"/>
                </a:solidFill>
              </a:rPr>
              <a:t>Tender advertisements Jan-Mar22.</a:t>
            </a:r>
            <a:r>
              <a:rPr lang="en-US" sz="1600" dirty="0">
                <a:solidFill>
                  <a:srgbClr val="FF0000"/>
                </a:solidFill>
              </a:rPr>
              <a:t>​</a:t>
            </a:r>
          </a:p>
          <a:p>
            <a:pPr marL="0" indent="0">
              <a:buNone/>
            </a:pPr>
            <a:r>
              <a:rPr lang="en-ZA" sz="1600" dirty="0">
                <a:solidFill>
                  <a:srgbClr val="FF0000"/>
                </a:solidFill>
              </a:rPr>
              <a:t>​</a:t>
            </a:r>
          </a:p>
          <a:p>
            <a:endParaRPr lang="en-ZA" sz="1600" dirty="0"/>
          </a:p>
          <a:p>
            <a:endParaRPr lang="en-ZA" sz="1600" dirty="0"/>
          </a:p>
          <a:p>
            <a:pPr marL="457200" lvl="1" indent="0">
              <a:buNone/>
            </a:pPr>
            <a:endParaRPr lang="en-GB" sz="1600" dirty="0"/>
          </a:p>
          <a:p>
            <a:pPr marL="360363" lvl="1" indent="-360363">
              <a:buFont typeface="+mj-lt"/>
              <a:buAutoNum type="arabicPeriod"/>
            </a:pPr>
            <a:endParaRPr lang="en-US" sz="1600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0011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A717396D-0A79-44A6-AD2A-B3D1F262D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1" y="1030076"/>
            <a:ext cx="11839903" cy="5508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ational Service Resumption Plan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0" indent="0">
              <a:buNone/>
            </a:pPr>
            <a:r>
              <a:rPr lang="en-ZA" sz="1600" dirty="0">
                <a:solidFill>
                  <a:srgbClr val="FF0000"/>
                </a:solidFill>
              </a:rPr>
              <a:t>​</a:t>
            </a:r>
          </a:p>
          <a:p>
            <a:endParaRPr lang="en-ZA" sz="1600" dirty="0"/>
          </a:p>
          <a:p>
            <a:endParaRPr lang="en-ZA" sz="1600" dirty="0"/>
          </a:p>
          <a:p>
            <a:pPr marL="457200" lvl="1" indent="0">
              <a:buNone/>
            </a:pPr>
            <a:endParaRPr lang="en-GB" sz="1600" dirty="0"/>
          </a:p>
          <a:p>
            <a:pPr marL="360363" lvl="1" indent="-360363">
              <a:buFont typeface="+mj-lt"/>
              <a:buAutoNum type="arabicPeriod"/>
            </a:pPr>
            <a:endParaRPr lang="en-US" sz="1600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1968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rridor Rollout Plan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pic>
        <p:nvPicPr>
          <p:cNvPr id="4104" name="Picture 8">
            <a:extLst>
              <a:ext uri="{FF2B5EF4-FFF2-40B4-BE49-F238E27FC236}">
                <a16:creationId xmlns:a16="http://schemas.microsoft.com/office/drawing/2014/main" id="{F9D717D0-0EEA-4B24-B146-FB49AE3F0F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86677"/>
            <a:ext cx="12192000" cy="551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62701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1">
            <a:extLst>
              <a:ext uri="{FF2B5EF4-FFF2-40B4-BE49-F238E27FC236}">
                <a16:creationId xmlns:a16="http://schemas.microsoft.com/office/drawing/2014/main" id="{65760707-B3E9-4ED1-9B9E-2A436A6DCAD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9B8A340-94BC-40D4-8CA8-79B849B19CAA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7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abopan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Rehabilitatio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6591" y="1166191"/>
            <a:ext cx="10155282" cy="5190162"/>
          </a:xfrm>
        </p:spPr>
        <p:txBody>
          <a:bodyPr/>
          <a:lstStyle/>
          <a:p>
            <a:pPr marL="0" lvl="1" indent="0">
              <a:buNone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4B4A564F-E137-4702-A50D-FFEFA20D5C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574322"/>
              </p:ext>
            </p:extLst>
          </p:nvPr>
        </p:nvGraphicFramePr>
        <p:xfrm>
          <a:off x="261065" y="1166190"/>
          <a:ext cx="11374344" cy="4963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91448">
                  <a:extLst>
                    <a:ext uri="{9D8B030D-6E8A-4147-A177-3AD203B41FA5}">
                      <a16:colId xmlns:a16="http://schemas.microsoft.com/office/drawing/2014/main" val="3056673625"/>
                    </a:ext>
                  </a:extLst>
                </a:gridCol>
                <a:gridCol w="4563342">
                  <a:extLst>
                    <a:ext uri="{9D8B030D-6E8A-4147-A177-3AD203B41FA5}">
                      <a16:colId xmlns:a16="http://schemas.microsoft.com/office/drawing/2014/main" val="3963790846"/>
                    </a:ext>
                  </a:extLst>
                </a:gridCol>
                <a:gridCol w="3019554">
                  <a:extLst>
                    <a:ext uri="{9D8B030D-6E8A-4147-A177-3AD203B41FA5}">
                      <a16:colId xmlns:a16="http://schemas.microsoft.com/office/drawing/2014/main" val="1010826216"/>
                    </a:ext>
                  </a:extLst>
                </a:gridCol>
              </a:tblGrid>
              <a:tr h="465040">
                <a:tc>
                  <a:txBody>
                    <a:bodyPr/>
                    <a:lstStyle/>
                    <a:p>
                      <a:r>
                        <a:rPr lang="en-US" sz="1600" dirty="0"/>
                        <a:t>Project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escription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7850294"/>
                  </a:ext>
                </a:extLst>
              </a:tr>
              <a:tr h="697464">
                <a:tc>
                  <a:txBody>
                    <a:bodyPr/>
                    <a:lstStyle/>
                    <a:p>
                      <a:r>
                        <a:rPr lang="en-US" sz="1600" dirty="0"/>
                        <a:t>Substation Rehabilitation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e up of 14 Substations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kumimoji="0" lang="en-ZA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444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roken into two (2) WP’s 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70% reduction in Cu content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53614"/>
                  </a:ext>
                </a:extLst>
              </a:tr>
              <a:tr h="697464">
                <a:tc>
                  <a:txBody>
                    <a:bodyPr/>
                    <a:lstStyle/>
                    <a:p>
                      <a:r>
                        <a:rPr lang="en-US" sz="1600" dirty="0"/>
                        <a:t>Rehabilitation of OHTE System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e up of 160km of OHTE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kumimoji="0" lang="en-ZA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444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roken into Five (5) WP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duce copper content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324632"/>
                  </a:ext>
                </a:extLst>
              </a:tr>
              <a:tr h="672568">
                <a:tc>
                  <a:txBody>
                    <a:bodyPr/>
                    <a:lstStyle/>
                    <a:p>
                      <a:r>
                        <a:rPr lang="en-US" sz="1600" dirty="0"/>
                        <a:t>Re-</a:t>
                      </a:r>
                      <a:r>
                        <a:rPr lang="en-US" sz="1600" dirty="0" err="1"/>
                        <a:t>signalling</a:t>
                      </a:r>
                      <a:r>
                        <a:rPr lang="en-US" sz="1600" dirty="0"/>
                        <a:t> 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e up of nine (9) Signaling Stations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kumimoji="0" lang="en-ZA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444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rt of the Siemens Re-signaling </a:t>
                      </a: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gramme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duction of copper content</a:t>
                      </a:r>
                    </a:p>
                    <a:p>
                      <a:r>
                        <a:rPr lang="en-US" sz="1600" dirty="0"/>
                        <a:t>Reinforcement of critical content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2393974"/>
                  </a:ext>
                </a:extLst>
              </a:tr>
              <a:tr h="697464">
                <a:tc>
                  <a:txBody>
                    <a:bodyPr/>
                    <a:lstStyle/>
                    <a:p>
                      <a:r>
                        <a:rPr lang="en-US" sz="1600" dirty="0"/>
                        <a:t>Train Stations Rehabilitation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e up of 23 Train stations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kumimoji="0" lang="en-ZA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444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roken into six (6) WPs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363362"/>
                  </a:ext>
                </a:extLst>
              </a:tr>
              <a:tr h="910619">
                <a:tc>
                  <a:txBody>
                    <a:bodyPr/>
                    <a:lstStyle/>
                    <a:p>
                      <a:r>
                        <a:rPr lang="en-US" sz="1600" dirty="0"/>
                        <a:t>Walling and Security </a:t>
                      </a:r>
                      <a:r>
                        <a:rPr lang="en-US" sz="1600" dirty="0" err="1"/>
                        <a:t>Programme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mart Walling solution: Broken into 16 WPs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kumimoji="0" lang="en-ZA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444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curity intervention: Deployment of targeted security interventions for the corridor</a:t>
                      </a: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989019"/>
                  </a:ext>
                </a:extLst>
              </a:tr>
              <a:tr h="670034">
                <a:tc>
                  <a:txBody>
                    <a:bodyPr/>
                    <a:lstStyle/>
                    <a:p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eet to Street Bridges Project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e up of 8 bridges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444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vided into 8 WPs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4444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​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444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63213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72421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Programme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4313" y="1285461"/>
            <a:ext cx="10327560" cy="5070892"/>
          </a:xfrm>
        </p:spPr>
        <p:txBody>
          <a:bodyPr/>
          <a:lstStyle/>
          <a:p>
            <a:pPr marL="800100" lvl="1" indent="-342900">
              <a:buAutoNum type="arabicPeriod"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8BC93558-31D6-4CC8-936B-6160C40120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3025" y="1093720"/>
            <a:ext cx="9491633" cy="5056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94469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igh Level Remedy Plan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7809" y="1192695"/>
            <a:ext cx="10354064" cy="5163657"/>
          </a:xfrm>
        </p:spPr>
        <p:txBody>
          <a:bodyPr/>
          <a:lstStyle/>
          <a:p>
            <a:pPr marL="800100" lvl="1" indent="-342900">
              <a:buAutoNum type="arabicPeriod"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ACD022C-48B4-4A56-8F0C-321A0581D1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118592"/>
              </p:ext>
            </p:extLst>
          </p:nvPr>
        </p:nvGraphicFramePr>
        <p:xfrm>
          <a:off x="55178" y="1058686"/>
          <a:ext cx="12136821" cy="5584749"/>
        </p:xfrm>
        <a:graphic>
          <a:graphicData uri="http://schemas.openxmlformats.org/drawingml/2006/table">
            <a:tbl>
              <a:tblPr/>
              <a:tblGrid>
                <a:gridCol w="2467305">
                  <a:extLst>
                    <a:ext uri="{9D8B030D-6E8A-4147-A177-3AD203B41FA5}">
                      <a16:colId xmlns:a16="http://schemas.microsoft.com/office/drawing/2014/main" val="740744951"/>
                    </a:ext>
                  </a:extLst>
                </a:gridCol>
                <a:gridCol w="4936553">
                  <a:extLst>
                    <a:ext uri="{9D8B030D-6E8A-4147-A177-3AD203B41FA5}">
                      <a16:colId xmlns:a16="http://schemas.microsoft.com/office/drawing/2014/main" val="2845883041"/>
                    </a:ext>
                  </a:extLst>
                </a:gridCol>
                <a:gridCol w="303362">
                  <a:extLst>
                    <a:ext uri="{9D8B030D-6E8A-4147-A177-3AD203B41FA5}">
                      <a16:colId xmlns:a16="http://schemas.microsoft.com/office/drawing/2014/main" val="469030068"/>
                    </a:ext>
                  </a:extLst>
                </a:gridCol>
                <a:gridCol w="2714648">
                  <a:extLst>
                    <a:ext uri="{9D8B030D-6E8A-4147-A177-3AD203B41FA5}">
                      <a16:colId xmlns:a16="http://schemas.microsoft.com/office/drawing/2014/main" val="809166831"/>
                    </a:ext>
                  </a:extLst>
                </a:gridCol>
                <a:gridCol w="1714953">
                  <a:extLst>
                    <a:ext uri="{9D8B030D-6E8A-4147-A177-3AD203B41FA5}">
                      <a16:colId xmlns:a16="http://schemas.microsoft.com/office/drawing/2014/main" val="526398369"/>
                    </a:ext>
                  </a:extLst>
                </a:gridCol>
              </a:tblGrid>
              <a:tr h="21806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JECT NAME​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/>
                      <a:r>
                        <a:rPr lang="en-US" sz="14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MEDY ACTION​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ST. FINISH DATE​</a:t>
                      </a:r>
                      <a:endParaRPr lang="en-US" sz="1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ZA" sz="14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190803"/>
                  </a:ext>
                </a:extLst>
              </a:tr>
              <a:tr h="498427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HTE Rehabilitation project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eleration plan (Compress 8 months construction plan into 3 months through shift working) 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 Nov 21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6718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652834"/>
                  </a:ext>
                </a:extLst>
              </a:tr>
              <a:tr h="311517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tation Rehabilitation project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e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Oct 21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174381"/>
                  </a:ext>
                </a:extLst>
              </a:tr>
              <a:tr h="872247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ion Rehabilitation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 service with 22% station availability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rease availability to 52% (</a:t>
                      </a:r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iation from normal tender process, Turnkey approach)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rease availability to 100% </a:t>
                      </a:r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Turnkey approach)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 Nov 21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Nov 21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ch 22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place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vertisement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fication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572580"/>
                  </a:ext>
                </a:extLst>
              </a:tr>
              <a:tr h="40497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urity Intervention Project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geted security unit for the Now and Post construction before walling Solution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 21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vertised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29394"/>
                  </a:ext>
                </a:extLst>
              </a:tr>
              <a:tr h="311517"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US" sz="14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ECTRICAL TRAIN SERVICE WITH 92% OF AUTOMATED TRAIN AUTHORISATION CAN START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ctr" rtl="0" fontAlgn="base"/>
                      <a:r>
                        <a:rPr lang="en-US" sz="14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04 NOV 2021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373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9287382"/>
                  </a:ext>
                </a:extLst>
              </a:tr>
              <a:tr h="152643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lling </a:t>
                      </a:r>
                      <a:r>
                        <a:rPr lang="en-US" sz="1400" b="0" i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me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bundle Work Packages (16 WPs) for an accelerated construction phase.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P1-3: Walling around 31 strategic buildings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P4-14: Corridor Walling (Inc. </a:t>
                      </a:r>
                      <a:r>
                        <a:rPr lang="en-US" sz="1400" b="1" i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wildt</a:t>
                      </a:r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P15: Security Technology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P 16: Upgrade of Civil Works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P17: </a:t>
                      </a:r>
                      <a:r>
                        <a:rPr lang="en-US" sz="1400" b="0" i="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lmerton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Walling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ggered (Nov 21 – Jan 21)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ggered (Nov 22 – Jul 22)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 22 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ggered (Nov 21 – Jan 21)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ggered (Nov 22 – Jul 22)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 22 ​</a:t>
                      </a:r>
                      <a:endParaRPr lang="en-ZA"/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aluation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igns Done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igns Done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710209"/>
                  </a:ext>
                </a:extLst>
              </a:tr>
              <a:tr h="21806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-signalling Project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 track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 21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 21​</a:t>
                      </a:r>
                      <a:endParaRPr lang="en-ZA" dirty="0"/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681469"/>
                  </a:ext>
                </a:extLst>
              </a:tr>
              <a:tr h="311517">
                <a:tc gridSpan="5">
                  <a:txBody>
                    <a:bodyPr/>
                    <a:lstStyle/>
                    <a:p>
                      <a:pPr algn="ctr" rtl="0" fontAlgn="base"/>
                      <a:r>
                        <a:rPr lang="en-US" sz="14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LECTRICAL TRAIN SERVICE WITH FULL AUTOMATED TRAIN AUTHORISATION CAN START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ctr" rtl="0" fontAlgn="base"/>
                      <a:r>
                        <a:rPr lang="en-US" sz="14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ND DEC 2021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6C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139738"/>
                  </a:ext>
                </a:extLst>
              </a:tr>
              <a:tr h="311517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eet to street bridges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 track​</a:t>
                      </a:r>
                      <a:endParaRPr lang="en-GB" dirty="0"/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 21​</a:t>
                      </a:r>
                      <a:endParaRPr lang="en-US" sz="14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FST Approved​</a:t>
                      </a:r>
                      <a:endParaRPr lang="en-US" sz="14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27196" marR="27196" marT="13598" marB="13598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6442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2164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erformanc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8 local 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urers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have been appointed.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interns in the build environment have been appointed under KBCE​ 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SMME's participation: </a:t>
            </a:r>
          </a:p>
          <a:p>
            <a:pPr lvl="1">
              <a:lnSpc>
                <a:spcPct val="100000"/>
              </a:lnSpc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(1), </a:t>
            </a:r>
          </a:p>
          <a:p>
            <a:pPr lvl="1">
              <a:lnSpc>
                <a:spcPct val="100000"/>
              </a:lnSpc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nciling (5), </a:t>
            </a:r>
          </a:p>
          <a:p>
            <a:pPr lvl="1">
              <a:lnSpc>
                <a:spcPct val="100000"/>
              </a:lnSpc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lution facilities (5), </a:t>
            </a:r>
          </a:p>
          <a:p>
            <a:pPr lvl="1">
              <a:lnSpc>
                <a:spcPct val="100000"/>
              </a:lnSpc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 establishment (3), </a:t>
            </a:r>
          </a:p>
          <a:p>
            <a:pPr lvl="1">
              <a:lnSpc>
                <a:spcPct val="100000"/>
              </a:lnSpc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ring and transportation and small building works (12). 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 in total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 of all contract value was sub-contracted which was a pre-requisite from PRASA in line with regulation 9 of the Preferential Procurement Regulations of PPPFA 2017</a:t>
            </a:r>
          </a:p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367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entral Line Rehabilitatio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6591" y="1166191"/>
            <a:ext cx="10155282" cy="5190162"/>
          </a:xfrm>
        </p:spPr>
        <p:txBody>
          <a:bodyPr/>
          <a:lstStyle/>
          <a:p>
            <a:pPr marL="0" lvl="1" indent="0">
              <a:buNone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4B4A564F-E137-4702-A50D-FFEFA20D5C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5085079"/>
              </p:ext>
            </p:extLst>
          </p:nvPr>
        </p:nvGraphicFramePr>
        <p:xfrm>
          <a:off x="261065" y="1073427"/>
          <a:ext cx="11374344" cy="5516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0183">
                  <a:extLst>
                    <a:ext uri="{9D8B030D-6E8A-4147-A177-3AD203B41FA5}">
                      <a16:colId xmlns:a16="http://schemas.microsoft.com/office/drawing/2014/main" val="3056673625"/>
                    </a:ext>
                  </a:extLst>
                </a:gridCol>
                <a:gridCol w="7954161">
                  <a:extLst>
                    <a:ext uri="{9D8B030D-6E8A-4147-A177-3AD203B41FA5}">
                      <a16:colId xmlns:a16="http://schemas.microsoft.com/office/drawing/2014/main" val="3963790846"/>
                    </a:ext>
                  </a:extLst>
                </a:gridCol>
              </a:tblGrid>
              <a:tr h="361938">
                <a:tc>
                  <a:txBody>
                    <a:bodyPr/>
                    <a:lstStyle/>
                    <a:p>
                      <a:r>
                        <a:rPr lang="en-US" sz="1600" dirty="0"/>
                        <a:t>Project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escription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7850294"/>
                  </a:ext>
                </a:extLst>
              </a:tr>
              <a:tr h="787157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Substation Rehabilitation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 x substation  work packages  out on tender (closing end Sept 2021)</a:t>
                      </a: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maller regional project at </a:t>
                      </a:r>
                      <a:r>
                        <a:rPr lang="en-US" sz="1600" b="0" i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yanga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substation underway for Phase 1 to </a:t>
                      </a:r>
                      <a:r>
                        <a:rPr lang="en-US" sz="1600" b="0" i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yanga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and Bellville</a:t>
                      </a: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153614"/>
                  </a:ext>
                </a:extLst>
              </a:tr>
              <a:tr h="787157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ehabilitation of OHTE System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 x contractors appointed for 33kV and 3kV works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orks expected to start in September 2021 (6 month duration)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 x 11 kV work packages  out on tender (closing end Sept 2021)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3324632"/>
                  </a:ext>
                </a:extLst>
              </a:tr>
              <a:tr h="55392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e-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signalling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inal discussions taking place with Thales </a:t>
                      </a:r>
                      <a:r>
                        <a:rPr lang="en-US" sz="1600" b="0" i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ziya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to obtain agreement with them on how to proceed with Central Line Re-</a:t>
                      </a:r>
                      <a:r>
                        <a:rPr lang="en-US" sz="1600" b="0" i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gnalling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2393974"/>
                  </a:ext>
                </a:extLst>
              </a:tr>
              <a:tr h="787157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rain Stations Rehabilitation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onsultant tender closing on 31 August 2021 so that repair tenders can be professionally scoped and administered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ation repair works estimated to start in November 2021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363362"/>
                  </a:ext>
                </a:extLst>
              </a:tr>
              <a:tr h="787157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Walling Project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signs completed except for control room locations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 work packages proposed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 x walling work packages at CFST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9989019"/>
                  </a:ext>
                </a:extLst>
              </a:tr>
              <a:tr h="1319464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emoval of illegal settlements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ioritised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600" b="0" i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anga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settlement removal</a:t>
                      </a: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btained eviction order for </a:t>
                      </a:r>
                      <a:r>
                        <a:rPr lang="en-US" sz="1600" b="0" i="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anga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settlement only on 28 July 2021</a:t>
                      </a: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ZA" sz="1600" b="0" i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atest estimate to remove all illegal settlements using accelerated approach is beginning </a:t>
                      </a:r>
                      <a:r>
                        <a:rPr lang="en-ZA" sz="16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f October 2021. </a:t>
                      </a:r>
                      <a:r>
                        <a:rPr lang="en-US" sz="16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tter </a:t>
                      </a:r>
                      <a:r>
                        <a:rPr lang="en-US" sz="16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scalated to the Executive Mayor to fast-track removal of illegal settlements on the PRASA reserves.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63213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73005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0D4653-5144-4ABE-B415-AF1BEDF58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entral Line Rehabilitatio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C1CF4-1D33-407C-BD99-2549952E7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1066" y="1192695"/>
            <a:ext cx="10450807" cy="5163657"/>
          </a:xfrm>
        </p:spPr>
        <p:txBody>
          <a:bodyPr/>
          <a:lstStyle/>
          <a:p>
            <a:pPr marL="457200" lvl="1" indent="0">
              <a:buNone/>
            </a:pPr>
            <a:endParaRPr lang="en-GB" dirty="0"/>
          </a:p>
          <a:p>
            <a:pPr marL="360363" lvl="1" indent="-360363">
              <a:buFont typeface="+mj-lt"/>
              <a:buAutoNum type="arabicPeriod"/>
            </a:pPr>
            <a:endParaRPr lang="en-US" dirty="0"/>
          </a:p>
          <a:p>
            <a:pPr marL="360363" lvl="1" indent="-360363"/>
            <a:endParaRPr lang="en-GB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F99425-0DD1-4037-BB7B-75948574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C63827-2A32-4843-ACE4-83FD88C80868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64054763-B6C3-4A03-B82D-0F6251B63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148" y="1192694"/>
            <a:ext cx="10071652" cy="5340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2482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1EDB4E-5F29-49D6-AC1C-CD9A6102A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ctr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iority Corridors Recovery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FD1C982-A58B-4010-B256-39E3761D0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745" y="962025"/>
            <a:ext cx="11628014" cy="4391820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oal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Reliability Availability of the </a:t>
            </a:r>
          </a:p>
          <a:p>
            <a:pPr marL="0" indent="0">
              <a:buNone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railway network ​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safety ​</a:t>
            </a: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asset life spa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A692FF-1A93-46BF-8697-101F0F3A8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5EC47341-3A7F-4FA9-B289-8C6668477109}" type="slidenum">
              <a:rPr lang="en-US" altLang="en-US" smtClean="0"/>
              <a:pPr>
                <a:spcAft>
                  <a:spcPts val="600"/>
                </a:spcAft>
                <a:defRPr/>
              </a:pPr>
              <a:t>9</a:t>
            </a:fld>
            <a:endParaRPr lang="en-US" alt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C876ABB-F686-41A1-ABEC-208C725ECD43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203852" y="962025"/>
            <a:ext cx="5988148" cy="49339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Objectives </a:t>
            </a:r>
          </a:p>
          <a:p>
            <a:r>
              <a:rPr lang="en-US" dirty="0">
                <a:solidFill>
                  <a:srgbClr val="000000"/>
                </a:solidFill>
                <a:latin typeface="Nunito Sans ExtraLight"/>
              </a:rPr>
              <a:t>Routine Preventative Maintenance (Inspect&amp; Correct) – Time Based ( Short Term)​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Nunito Sans ExtraLight"/>
              </a:rPr>
              <a:t>Capital Intervention (Correct-Major Breakdown ) – Short, Medium &amp; Long-Term Projects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946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Wc.rNAEycyV2GVY4I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Wc.rNAEycyV2GVY4I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EGtmqpJUe9LK_tK1NR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GAO7aztUWnGkgYxqlF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Wc.rNAEycyV2GVY4I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vnOp6LGUab8M11FtWo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GAO7aztUWnGkgYxqlF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EGtmqpJUe9LK_tK1NR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EGtmqpJUe9LK_tK1NR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Office Them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OUP EXCO Slide" id="{06C54DA9-8FAA-484E-BC0C-5740818E3992}" vid="{6502F611-70E7-334D-A0E1-B92E7624F011}"/>
    </a:ext>
  </a:extLst>
</a:theme>
</file>

<file path=ppt/theme/theme3.xml><?xml version="1.0" encoding="utf-8"?>
<a:theme xmlns:a="http://schemas.openxmlformats.org/drawingml/2006/main" name="2_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Template Bane" id="{BFCE63A3-EA7B-4EE5-9883-B496148CA13A}" vid="{EBBA3246-5392-4FE4-A282-CE6172CC68A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17A2BD21D8BF45AEA6B9D48DC1102C" ma:contentTypeVersion="14" ma:contentTypeDescription="Create a new document." ma:contentTypeScope="" ma:versionID="d5d308b2132ab4fd8a5b80446ef9f15b">
  <xsd:schema xmlns:xsd="http://www.w3.org/2001/XMLSchema" xmlns:xs="http://www.w3.org/2001/XMLSchema" xmlns:p="http://schemas.microsoft.com/office/2006/metadata/properties" xmlns:ns3="e6de00b8-cbc4-440b-b0ff-7ff7353ed99f" xmlns:ns4="59311da5-8d3b-49ec-89bb-30f785fb363d" targetNamespace="http://schemas.microsoft.com/office/2006/metadata/properties" ma:root="true" ma:fieldsID="014e13e66a9ad9875e0ec7c87d3b66d1" ns3:_="" ns4:_="">
    <xsd:import namespace="e6de00b8-cbc4-440b-b0ff-7ff7353ed99f"/>
    <xsd:import namespace="59311da5-8d3b-49ec-89bb-30f785fb363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de00b8-cbc4-440b-b0ff-7ff7353ed9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311da5-8d3b-49ec-89bb-30f785fb363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D11CD33-63A7-42B4-B426-833EA46E9A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de00b8-cbc4-440b-b0ff-7ff7353ed99f"/>
    <ds:schemaRef ds:uri="59311da5-8d3b-49ec-89bb-30f785fb36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200A070-D8A6-4ECC-A8A8-0670E8EAF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F4C53F-67E5-4A43-B73F-3A5346745749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59311da5-8d3b-49ec-89bb-30f785fb363d"/>
    <ds:schemaRef ds:uri="http://purl.org/dc/dcmitype/"/>
    <ds:schemaRef ds:uri="e6de00b8-cbc4-440b-b0ff-7ff7353ed99f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2</TotalTime>
  <Words>4941</Words>
  <Application>Microsoft Office PowerPoint</Application>
  <PresentationFormat>Widescreen</PresentationFormat>
  <Paragraphs>1047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0" baseType="lpstr">
      <vt:lpstr>Arial</vt:lpstr>
      <vt:lpstr>Arial Black</vt:lpstr>
      <vt:lpstr>Calibri</vt:lpstr>
      <vt:lpstr>Calibri Light</vt:lpstr>
      <vt:lpstr>Century Gothic</vt:lpstr>
      <vt:lpstr>Courier New</vt:lpstr>
      <vt:lpstr>Nunito Sans ExtraLight</vt:lpstr>
      <vt:lpstr>Times New Roman</vt:lpstr>
      <vt:lpstr>Wingdings</vt:lpstr>
      <vt:lpstr>1_Office Theme</vt:lpstr>
      <vt:lpstr>8_Office Theme</vt:lpstr>
      <vt:lpstr>2_Office Theme</vt:lpstr>
      <vt:lpstr>think-cell Slide</vt:lpstr>
      <vt:lpstr>PowerPoint Presentation</vt:lpstr>
      <vt:lpstr>Table of Contents</vt:lpstr>
      <vt:lpstr>Mabopane Rehabilitation Programme</vt:lpstr>
      <vt:lpstr>Programme Overview</vt:lpstr>
      <vt:lpstr>High Level Remedy Plan</vt:lpstr>
      <vt:lpstr>Programme Performance</vt:lpstr>
      <vt:lpstr>Central Line Rehabilitation Programme</vt:lpstr>
      <vt:lpstr>Central Line Rehabilitation Programme</vt:lpstr>
      <vt:lpstr>Priority Corridors Recovery</vt:lpstr>
      <vt:lpstr>Infra Maintenance Projects Overview </vt:lpstr>
      <vt:lpstr>Programme Performance</vt:lpstr>
      <vt:lpstr>Project Implementation - Dashboard (2021/22)</vt:lpstr>
      <vt:lpstr>Project Implementation – Dashboard (2021/22)</vt:lpstr>
      <vt:lpstr>Project Implementation (2021/22)</vt:lpstr>
      <vt:lpstr>Project Implementation (2021/22)</vt:lpstr>
      <vt:lpstr>Project Implementation (2021/22)</vt:lpstr>
      <vt:lpstr>Project Implementation  (2021/22)</vt:lpstr>
      <vt:lpstr>Project Implementation (2021/22)</vt:lpstr>
      <vt:lpstr>Project Implementation 2021/22</vt:lpstr>
      <vt:lpstr>Project Implementation (2021/22)</vt:lpstr>
      <vt:lpstr>Project Implementation (2021/22)</vt:lpstr>
      <vt:lpstr>Project Implementation (2021/22)</vt:lpstr>
      <vt:lpstr>Project Implementation (2021/22)</vt:lpstr>
      <vt:lpstr>Depot Modernisation Projects - Progress</vt:lpstr>
      <vt:lpstr>National Service Resumption Plan</vt:lpstr>
      <vt:lpstr>Corridor Rollout Plan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giso Moleme</dc:creator>
  <cp:lastModifiedBy>Tandiwe Mpondo Mpondo</cp:lastModifiedBy>
  <cp:revision>6</cp:revision>
  <dcterms:created xsi:type="dcterms:W3CDTF">2021-09-05T20:13:23Z</dcterms:created>
  <dcterms:modified xsi:type="dcterms:W3CDTF">2021-09-07T07:07:57Z</dcterms:modified>
</cp:coreProperties>
</file>